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9"/>
  </p:notesMasterIdLst>
  <p:sldIdLst>
    <p:sldId id="256" r:id="rId5"/>
    <p:sldId id="1460" r:id="rId6"/>
    <p:sldId id="1496" r:id="rId7"/>
    <p:sldId id="1582" r:id="rId8"/>
    <p:sldId id="1592" r:id="rId9"/>
    <p:sldId id="1596" r:id="rId10"/>
    <p:sldId id="1597" r:id="rId11"/>
    <p:sldId id="1598" r:id="rId12"/>
    <p:sldId id="1599" r:id="rId13"/>
    <p:sldId id="1600" r:id="rId14"/>
    <p:sldId id="1595" r:id="rId15"/>
    <p:sldId id="1594" r:id="rId16"/>
    <p:sldId id="1593" r:id="rId17"/>
    <p:sldId id="1425" r:id="rId18"/>
  </p:sldIdLst>
  <p:sldSz cx="9144000" cy="5143500" type="screen16x9"/>
  <p:notesSz cx="6858000" cy="9144000"/>
  <p:custDataLst>
    <p:tags r:id="rId20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FB0D84-12EB-DA4F-E84C-2573E9CCE67E}" name="Mizutani, Iori" initials="MI" userId="S::iori.mizutani@unisg.ch::61732c85-4620-4df0-bf02-1d16ba9cd624" providerId="AD"/>
  <p188:author id="{D781EADA-B33A-31CA-FE0C-129C4F82D78C}" name="Maillard, Alexiane" initials="MA" userId="Maillard, Alexian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981D"/>
    <a:srgbClr val="00802F"/>
    <a:srgbClr val="6CF0A2"/>
    <a:srgbClr val="084722"/>
    <a:srgbClr val="006023"/>
    <a:srgbClr val="D4D4D4"/>
    <a:srgbClr val="00802E"/>
    <a:srgbClr val="0A5F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FD8747-7102-41ED-8EE2-FDFF65B33EAB}" v="12" dt="2023-05-26T10:01:09.5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124" d="100"/>
          <a:sy n="124" d="100"/>
        </p:scale>
        <p:origin x="105" y="45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inik Buchegger" userId="4419538d-6150-464b-ac11-eb0323261855" providerId="ADAL" clId="{819799A4-2711-4DD4-983E-034240A3B658}"/>
    <pc:docChg chg="custSel modSld">
      <pc:chgData name="Dominik Buchegger" userId="4419538d-6150-464b-ac11-eb0323261855" providerId="ADAL" clId="{819799A4-2711-4DD4-983E-034240A3B658}" dt="2023-05-19T09:39:58.484" v="43" actId="6549"/>
      <pc:docMkLst>
        <pc:docMk/>
      </pc:docMkLst>
      <pc:sldChg chg="modSp mod">
        <pc:chgData name="Dominik Buchegger" userId="4419538d-6150-464b-ac11-eb0323261855" providerId="ADAL" clId="{819799A4-2711-4DD4-983E-034240A3B658}" dt="2023-05-19T09:39:58.484" v="43" actId="6549"/>
        <pc:sldMkLst>
          <pc:docMk/>
          <pc:sldMk cId="1141813345" sldId="1594"/>
        </pc:sldMkLst>
        <pc:spChg chg="mod">
          <ac:chgData name="Dominik Buchegger" userId="4419538d-6150-464b-ac11-eb0323261855" providerId="ADAL" clId="{819799A4-2711-4DD4-983E-034240A3B658}" dt="2023-05-19T09:39:58.484" v="43" actId="6549"/>
          <ac:spMkLst>
            <pc:docMk/>
            <pc:sldMk cId="1141813345" sldId="1594"/>
            <ac:spMk id="6" creationId="{608BCD98-03F0-7525-A7F0-853A15731A3F}"/>
          </ac:spMkLst>
        </pc:spChg>
      </pc:sldChg>
    </pc:docChg>
  </pc:docChgLst>
  <pc:docChgLst>
    <pc:chgData name="Philipp John" userId="903d3876-23f5-4542-9457-bdcfe4283a57" providerId="ADAL" clId="{D3496EC4-1165-EE4B-8764-CACDA67E2CE8}"/>
    <pc:docChg chg="modSld">
      <pc:chgData name="Philipp John" userId="903d3876-23f5-4542-9457-bdcfe4283a57" providerId="ADAL" clId="{D3496EC4-1165-EE4B-8764-CACDA67E2CE8}" dt="2023-05-26T09:20:10.737" v="4" actId="20577"/>
      <pc:docMkLst>
        <pc:docMk/>
      </pc:docMkLst>
      <pc:sldChg chg="modSp mod">
        <pc:chgData name="Philipp John" userId="903d3876-23f5-4542-9457-bdcfe4283a57" providerId="ADAL" clId="{D3496EC4-1165-EE4B-8764-CACDA67E2CE8}" dt="2023-05-26T09:20:10.737" v="4" actId="20577"/>
        <pc:sldMkLst>
          <pc:docMk/>
          <pc:sldMk cId="3684072942" sldId="1594"/>
        </pc:sldMkLst>
        <pc:spChg chg="mod">
          <ac:chgData name="Philipp John" userId="903d3876-23f5-4542-9457-bdcfe4283a57" providerId="ADAL" clId="{D3496EC4-1165-EE4B-8764-CACDA67E2CE8}" dt="2023-05-26T09:20:10.737" v="4" actId="20577"/>
          <ac:spMkLst>
            <pc:docMk/>
            <pc:sldMk cId="3684072942" sldId="1594"/>
            <ac:spMk id="24" creationId="{76D12431-39B0-3B4D-BB03-EE884DA82F3F}"/>
          </ac:spMkLst>
        </pc:spChg>
      </pc:sldChg>
    </pc:docChg>
  </pc:docChgLst>
  <pc:docChgLst>
    <pc:chgData name="Bonilla, LeaMarta" userId="aa5362c7-0476-4c50-b52f-35c2791cd063" providerId="ADAL" clId="{A0135F9B-D1FA-6E45-9318-FB70E9C2E6D6}"/>
    <pc:docChg chg="undo custSel modSld">
      <pc:chgData name="Bonilla, LeaMarta" userId="aa5362c7-0476-4c50-b52f-35c2791cd063" providerId="ADAL" clId="{A0135F9B-D1FA-6E45-9318-FB70E9C2E6D6}" dt="2023-05-26T06:51:12.508" v="9" actId="1576"/>
      <pc:docMkLst>
        <pc:docMk/>
      </pc:docMkLst>
      <pc:sldChg chg="modSp">
        <pc:chgData name="Bonilla, LeaMarta" userId="aa5362c7-0476-4c50-b52f-35c2791cd063" providerId="ADAL" clId="{A0135F9B-D1FA-6E45-9318-FB70E9C2E6D6}" dt="2023-05-26T06:51:12.508" v="9" actId="1576"/>
        <pc:sldMkLst>
          <pc:docMk/>
          <pc:sldMk cId="723318487" sldId="1582"/>
        </pc:sldMkLst>
        <pc:spChg chg="mod">
          <ac:chgData name="Bonilla, LeaMarta" userId="aa5362c7-0476-4c50-b52f-35c2791cd063" providerId="ADAL" clId="{A0135F9B-D1FA-6E45-9318-FB70E9C2E6D6}" dt="2023-05-26T06:51:12.508" v="9" actId="1576"/>
          <ac:spMkLst>
            <pc:docMk/>
            <pc:sldMk cId="723318487" sldId="1582"/>
            <ac:spMk id="6" creationId="{F5EEC294-B771-D940-6194-AB1896DE8ECA}"/>
          </ac:spMkLst>
        </pc:spChg>
      </pc:sldChg>
    </pc:docChg>
  </pc:docChgLst>
  <pc:docChgLst>
    <pc:chgData name="Bonilla, LeaMarta" userId="aa5362c7-0476-4c50-b52f-35c2791cd063" providerId="ADAL" clId="{59589261-44A9-774D-989B-D9F4E371B186}"/>
    <pc:docChg chg="modSld">
      <pc:chgData name="Bonilla, LeaMarta" userId="aa5362c7-0476-4c50-b52f-35c2791cd063" providerId="ADAL" clId="{59589261-44A9-774D-989B-D9F4E371B186}" dt="2023-05-18T17:50:32.317" v="1" actId="20577"/>
      <pc:docMkLst>
        <pc:docMk/>
      </pc:docMkLst>
      <pc:sldChg chg="modSp">
        <pc:chgData name="Bonilla, LeaMarta" userId="aa5362c7-0476-4c50-b52f-35c2791cd063" providerId="ADAL" clId="{59589261-44A9-774D-989B-D9F4E371B186}" dt="2023-05-18T17:50:32.317" v="1" actId="20577"/>
        <pc:sldMkLst>
          <pc:docMk/>
          <pc:sldMk cId="723318487" sldId="1582"/>
        </pc:sldMkLst>
        <pc:spChg chg="mod">
          <ac:chgData name="Bonilla, LeaMarta" userId="aa5362c7-0476-4c50-b52f-35c2791cd063" providerId="ADAL" clId="{59589261-44A9-774D-989B-D9F4E371B186}" dt="2023-05-18T17:50:32.317" v="1" actId="20577"/>
          <ac:spMkLst>
            <pc:docMk/>
            <pc:sldMk cId="723318487" sldId="1582"/>
            <ac:spMk id="6" creationId="{F5EEC294-B771-D940-6194-AB1896DE8ECA}"/>
          </ac:spMkLst>
        </pc:spChg>
      </pc:sldChg>
    </pc:docChg>
  </pc:docChgLst>
  <pc:docChgLst>
    <pc:chgData name="Bonilla, LeaMarta" userId="S::leamarta.bonilla@student.unisg.ch::aa5362c7-0476-4c50-b52f-35c2791cd063" providerId="AD" clId="Web-{50BE390A-7C83-4DE7-BD15-817D1D7C6761}"/>
    <pc:docChg chg="addSld delSld modSld">
      <pc:chgData name="Bonilla, LeaMarta" userId="S::leamarta.bonilla@student.unisg.ch::aa5362c7-0476-4c50-b52f-35c2791cd063" providerId="AD" clId="Web-{50BE390A-7C83-4DE7-BD15-817D1D7C6761}" dt="2023-05-22T15:03:57.112" v="44" actId="20577"/>
      <pc:docMkLst>
        <pc:docMk/>
      </pc:docMkLst>
      <pc:sldChg chg="del">
        <pc:chgData name="Bonilla, LeaMarta" userId="S::leamarta.bonilla@student.unisg.ch::aa5362c7-0476-4c50-b52f-35c2791cd063" providerId="AD" clId="Web-{50BE390A-7C83-4DE7-BD15-817D1D7C6761}" dt="2023-05-22T14:39:31.537" v="10"/>
        <pc:sldMkLst>
          <pc:docMk/>
          <pc:sldMk cId="1941786393" sldId="408"/>
        </pc:sldMkLst>
      </pc:sldChg>
      <pc:sldChg chg="add del">
        <pc:chgData name="Bonilla, LeaMarta" userId="S::leamarta.bonilla@student.unisg.ch::aa5362c7-0476-4c50-b52f-35c2791cd063" providerId="AD" clId="Web-{50BE390A-7C83-4DE7-BD15-817D1D7C6761}" dt="2023-05-22T14:39:19.147" v="5"/>
        <pc:sldMkLst>
          <pc:docMk/>
          <pc:sldMk cId="3950133140" sldId="1425"/>
        </pc:sldMkLst>
      </pc:sldChg>
      <pc:sldChg chg="modSp">
        <pc:chgData name="Bonilla, LeaMarta" userId="S::leamarta.bonilla@student.unisg.ch::aa5362c7-0476-4c50-b52f-35c2791cd063" providerId="AD" clId="Web-{50BE390A-7C83-4DE7-BD15-817D1D7C6761}" dt="2023-05-22T15:03:40.080" v="36" actId="20577"/>
        <pc:sldMkLst>
          <pc:docMk/>
          <pc:sldMk cId="2946332310" sldId="1460"/>
        </pc:sldMkLst>
        <pc:spChg chg="mod">
          <ac:chgData name="Bonilla, LeaMarta" userId="S::leamarta.bonilla@student.unisg.ch::aa5362c7-0476-4c50-b52f-35c2791cd063" providerId="AD" clId="Web-{50BE390A-7C83-4DE7-BD15-817D1D7C6761}" dt="2023-05-22T15:03:40.080" v="36" actId="20577"/>
          <ac:spMkLst>
            <pc:docMk/>
            <pc:sldMk cId="2946332310" sldId="1460"/>
            <ac:spMk id="2" creationId="{38C104DD-55A5-D5D7-68B1-A81097757DA7}"/>
          </ac:spMkLst>
        </pc:spChg>
      </pc:sldChg>
      <pc:sldChg chg="modSp">
        <pc:chgData name="Bonilla, LeaMarta" userId="S::leamarta.bonilla@student.unisg.ch::aa5362c7-0476-4c50-b52f-35c2791cd063" providerId="AD" clId="Web-{50BE390A-7C83-4DE7-BD15-817D1D7C6761}" dt="2023-05-22T14:38:49.380" v="0" actId="20577"/>
        <pc:sldMkLst>
          <pc:docMk/>
          <pc:sldMk cId="860905568" sldId="1461"/>
        </pc:sldMkLst>
        <pc:spChg chg="mod">
          <ac:chgData name="Bonilla, LeaMarta" userId="S::leamarta.bonilla@student.unisg.ch::aa5362c7-0476-4c50-b52f-35c2791cd063" providerId="AD" clId="Web-{50BE390A-7C83-4DE7-BD15-817D1D7C6761}" dt="2023-05-22T14:38:49.380" v="0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">
        <pc:chgData name="Bonilla, LeaMarta" userId="S::leamarta.bonilla@student.unisg.ch::aa5362c7-0476-4c50-b52f-35c2791cd063" providerId="AD" clId="Web-{50BE390A-7C83-4DE7-BD15-817D1D7C6761}" dt="2023-05-22T14:38:54.349" v="2" actId="20577"/>
        <pc:sldMkLst>
          <pc:docMk/>
          <pc:sldMk cId="455783933" sldId="1496"/>
        </pc:sldMkLst>
        <pc:spChg chg="mod">
          <ac:chgData name="Bonilla, LeaMarta" userId="S::leamarta.bonilla@student.unisg.ch::aa5362c7-0476-4c50-b52f-35c2791cd063" providerId="AD" clId="Web-{50BE390A-7C83-4DE7-BD15-817D1D7C6761}" dt="2023-05-22T14:38:54.349" v="2" actId="20577"/>
          <ac:spMkLst>
            <pc:docMk/>
            <pc:sldMk cId="455783933" sldId="1496"/>
            <ac:spMk id="2" creationId="{C36256A2-67B2-CA01-7417-6A9C17C6B307}"/>
          </ac:spMkLst>
        </pc:spChg>
      </pc:sldChg>
      <pc:sldChg chg="modSp">
        <pc:chgData name="Bonilla, LeaMarta" userId="S::leamarta.bonilla@student.unisg.ch::aa5362c7-0476-4c50-b52f-35c2791cd063" providerId="AD" clId="Web-{50BE390A-7C83-4DE7-BD15-817D1D7C6761}" dt="2023-05-22T14:40:09.335" v="19" actId="20577"/>
        <pc:sldMkLst>
          <pc:docMk/>
          <pc:sldMk cId="723318487" sldId="1582"/>
        </pc:sldMkLst>
        <pc:spChg chg="mod">
          <ac:chgData name="Bonilla, LeaMarta" userId="S::leamarta.bonilla@student.unisg.ch::aa5362c7-0476-4c50-b52f-35c2791cd063" providerId="AD" clId="Web-{50BE390A-7C83-4DE7-BD15-817D1D7C6761}" dt="2023-05-22T14:40:06.804" v="17" actId="20577"/>
          <ac:spMkLst>
            <pc:docMk/>
            <pc:sldMk cId="723318487" sldId="1582"/>
            <ac:spMk id="3" creationId="{D457EF17-3F8F-5F3C-D235-ABE6EEBEC219}"/>
          </ac:spMkLst>
        </pc:spChg>
        <pc:spChg chg="mod">
          <ac:chgData name="Bonilla, LeaMarta" userId="S::leamarta.bonilla@student.unisg.ch::aa5362c7-0476-4c50-b52f-35c2791cd063" providerId="AD" clId="Web-{50BE390A-7C83-4DE7-BD15-817D1D7C6761}" dt="2023-05-22T14:40:09.335" v="19" actId="20577"/>
          <ac:spMkLst>
            <pc:docMk/>
            <pc:sldMk cId="723318487" sldId="1582"/>
            <ac:spMk id="6" creationId="{F5EEC294-B771-D940-6194-AB1896DE8ECA}"/>
          </ac:spMkLst>
        </pc:spChg>
      </pc:sldChg>
      <pc:sldChg chg="modSp">
        <pc:chgData name="Bonilla, LeaMarta" userId="S::leamarta.bonilla@student.unisg.ch::aa5362c7-0476-4c50-b52f-35c2791cd063" providerId="AD" clId="Web-{50BE390A-7C83-4DE7-BD15-817D1D7C6761}" dt="2023-05-22T15:03:57.112" v="44" actId="20577"/>
        <pc:sldMkLst>
          <pc:docMk/>
          <pc:sldMk cId="4075358184" sldId="1592"/>
        </pc:sldMkLst>
        <pc:spChg chg="mod">
          <ac:chgData name="Bonilla, LeaMarta" userId="S::leamarta.bonilla@student.unisg.ch::aa5362c7-0476-4c50-b52f-35c2791cd063" providerId="AD" clId="Web-{50BE390A-7C83-4DE7-BD15-817D1D7C6761}" dt="2023-05-22T15:03:57.112" v="44" actId="20577"/>
          <ac:spMkLst>
            <pc:docMk/>
            <pc:sldMk cId="4075358184" sldId="1592"/>
            <ac:spMk id="2" creationId="{A92E3E48-FF8A-5E4C-67CC-8B0608A09C2C}"/>
          </ac:spMkLst>
        </pc:spChg>
      </pc:sldChg>
      <pc:sldChg chg="del">
        <pc:chgData name="Bonilla, LeaMarta" userId="S::leamarta.bonilla@student.unisg.ch::aa5362c7-0476-4c50-b52f-35c2791cd063" providerId="AD" clId="Web-{50BE390A-7C83-4DE7-BD15-817D1D7C6761}" dt="2023-05-22T14:39:34.709" v="12"/>
        <pc:sldMkLst>
          <pc:docMk/>
          <pc:sldMk cId="2700026834" sldId="1593"/>
        </pc:sldMkLst>
      </pc:sldChg>
      <pc:sldChg chg="add replId">
        <pc:chgData name="Bonilla, LeaMarta" userId="S::leamarta.bonilla@student.unisg.ch::aa5362c7-0476-4c50-b52f-35c2791cd063" providerId="AD" clId="Web-{50BE390A-7C83-4DE7-BD15-817D1D7C6761}" dt="2023-05-22T15:03:46.299" v="37"/>
        <pc:sldMkLst>
          <pc:docMk/>
          <pc:sldMk cId="4225163027" sldId="1593"/>
        </pc:sldMkLst>
      </pc:sldChg>
      <pc:sldChg chg="del">
        <pc:chgData name="Bonilla, LeaMarta" userId="S::leamarta.bonilla@student.unisg.ch::aa5362c7-0476-4c50-b52f-35c2791cd063" providerId="AD" clId="Web-{50BE390A-7C83-4DE7-BD15-817D1D7C6761}" dt="2023-05-22T14:39:36.413" v="13"/>
        <pc:sldMkLst>
          <pc:docMk/>
          <pc:sldMk cId="1141813345" sldId="1594"/>
        </pc:sldMkLst>
      </pc:sldChg>
      <pc:sldChg chg="del">
        <pc:chgData name="Bonilla, LeaMarta" userId="S::leamarta.bonilla@student.unisg.ch::aa5362c7-0476-4c50-b52f-35c2791cd063" providerId="AD" clId="Web-{50BE390A-7C83-4DE7-BD15-817D1D7C6761}" dt="2023-05-22T14:39:37.616" v="14"/>
        <pc:sldMkLst>
          <pc:docMk/>
          <pc:sldMk cId="3936300900" sldId="1595"/>
        </pc:sldMkLst>
      </pc:sldChg>
      <pc:sldChg chg="del">
        <pc:chgData name="Bonilla, LeaMarta" userId="S::leamarta.bonilla@student.unisg.ch::aa5362c7-0476-4c50-b52f-35c2791cd063" providerId="AD" clId="Web-{50BE390A-7C83-4DE7-BD15-817D1D7C6761}" dt="2023-05-22T14:39:30.287" v="9"/>
        <pc:sldMkLst>
          <pc:docMk/>
          <pc:sldMk cId="2896078009" sldId="1597"/>
        </pc:sldMkLst>
      </pc:sldChg>
      <pc:sldChg chg="del">
        <pc:chgData name="Bonilla, LeaMarta" userId="S::leamarta.bonilla@student.unisg.ch::aa5362c7-0476-4c50-b52f-35c2791cd063" providerId="AD" clId="Web-{50BE390A-7C83-4DE7-BD15-817D1D7C6761}" dt="2023-05-22T14:39:16.834" v="3"/>
        <pc:sldMkLst>
          <pc:docMk/>
          <pc:sldMk cId="2801688374" sldId="1599"/>
        </pc:sldMkLst>
      </pc:sldChg>
      <pc:sldChg chg="del">
        <pc:chgData name="Bonilla, LeaMarta" userId="S::leamarta.bonilla@student.unisg.ch::aa5362c7-0476-4c50-b52f-35c2791cd063" providerId="AD" clId="Web-{50BE390A-7C83-4DE7-BD15-817D1D7C6761}" dt="2023-05-22T14:39:33.272" v="11"/>
        <pc:sldMkLst>
          <pc:docMk/>
          <pc:sldMk cId="1858774771" sldId="1600"/>
        </pc:sldMkLst>
      </pc:sldChg>
      <pc:sldChg chg="new del">
        <pc:chgData name="Bonilla, LeaMarta" userId="S::leamarta.bonilla@student.unisg.ch::aa5362c7-0476-4c50-b52f-35c2791cd063" providerId="AD" clId="Web-{50BE390A-7C83-4DE7-BD15-817D1D7C6761}" dt="2023-05-22T14:39:38.444" v="15"/>
        <pc:sldMkLst>
          <pc:docMk/>
          <pc:sldMk cId="2096928271" sldId="1601"/>
        </pc:sldMkLst>
      </pc:sldChg>
      <pc:sldChg chg="new del">
        <pc:chgData name="Bonilla, LeaMarta" userId="S::leamarta.bonilla@student.unisg.ch::aa5362c7-0476-4c50-b52f-35c2791cd063" providerId="AD" clId="Web-{50BE390A-7C83-4DE7-BD15-817D1D7C6761}" dt="2023-05-22T14:39:29.225" v="8"/>
        <pc:sldMkLst>
          <pc:docMk/>
          <pc:sldMk cId="3060201265" sldId="1602"/>
        </pc:sldMkLst>
      </pc:sldChg>
    </pc:docChg>
  </pc:docChgLst>
  <pc:docChgLst>
    <pc:chgData name="Bonilla, LeaMarta" userId="S::leamarta.bonilla@student.unisg.ch::aa5362c7-0476-4c50-b52f-35c2791cd063" providerId="AD" clId="Web-{D8FFB28C-493C-4044-AD6A-B791B1AF5598}"/>
    <pc:docChg chg="modSld">
      <pc:chgData name="Bonilla, LeaMarta" userId="S::leamarta.bonilla@student.unisg.ch::aa5362c7-0476-4c50-b52f-35c2791cd063" providerId="AD" clId="Web-{D8FFB28C-493C-4044-AD6A-B791B1AF5598}" dt="2023-05-22T14:37:29.810" v="25" actId="20577"/>
      <pc:docMkLst>
        <pc:docMk/>
      </pc:docMkLst>
      <pc:sldChg chg="modSp">
        <pc:chgData name="Bonilla, LeaMarta" userId="S::leamarta.bonilla@student.unisg.ch::aa5362c7-0476-4c50-b52f-35c2791cd063" providerId="AD" clId="Web-{D8FFB28C-493C-4044-AD6A-B791B1AF5598}" dt="2023-05-22T14:36:52.107" v="1" actId="20577"/>
        <pc:sldMkLst>
          <pc:docMk/>
          <pc:sldMk cId="3772496692" sldId="256"/>
        </pc:sldMkLst>
        <pc:spChg chg="mod">
          <ac:chgData name="Bonilla, LeaMarta" userId="S::leamarta.bonilla@student.unisg.ch::aa5362c7-0476-4c50-b52f-35c2791cd063" providerId="AD" clId="Web-{D8FFB28C-493C-4044-AD6A-B791B1AF5598}" dt="2023-05-22T14:36:52.107" v="1" actId="20577"/>
          <ac:spMkLst>
            <pc:docMk/>
            <pc:sldMk cId="3772496692" sldId="256"/>
            <ac:spMk id="13" creationId="{0C11E479-9B3A-42D2-A07C-80F9E924336D}"/>
          </ac:spMkLst>
        </pc:spChg>
      </pc:sldChg>
      <pc:sldChg chg="modSp">
        <pc:chgData name="Bonilla, LeaMarta" userId="S::leamarta.bonilla@student.unisg.ch::aa5362c7-0476-4c50-b52f-35c2791cd063" providerId="AD" clId="Web-{D8FFB28C-493C-4044-AD6A-B791B1AF5598}" dt="2023-05-22T14:37:29.810" v="25" actId="20577"/>
        <pc:sldMkLst>
          <pc:docMk/>
          <pc:sldMk cId="2946332310" sldId="1460"/>
        </pc:sldMkLst>
        <pc:spChg chg="mod">
          <ac:chgData name="Bonilla, LeaMarta" userId="S::leamarta.bonilla@student.unisg.ch::aa5362c7-0476-4c50-b52f-35c2791cd063" providerId="AD" clId="Web-{D8FFB28C-493C-4044-AD6A-B791B1AF5598}" dt="2023-05-22T14:37:29.810" v="25" actId="20577"/>
          <ac:spMkLst>
            <pc:docMk/>
            <pc:sldMk cId="2946332310" sldId="1460"/>
            <ac:spMk id="2" creationId="{38C104DD-55A5-D5D7-68B1-A81097757DA7}"/>
          </ac:spMkLst>
        </pc:spChg>
      </pc:sldChg>
    </pc:docChg>
  </pc:docChgLst>
  <pc:docChgLst>
    <pc:chgData name="Wu, Jing" userId="S::jing.wu@unisg.ch::185a692c-9f7b-4ee2-912c-20396d42d98e" providerId="AD" clId="Web-{1A00FD38-D445-403B-944B-4F3D0F251F26}"/>
    <pc:docChg chg="delSld">
      <pc:chgData name="Wu, Jing" userId="S::jing.wu@unisg.ch::185a692c-9f7b-4ee2-912c-20396d42d98e" providerId="AD" clId="Web-{1A00FD38-D445-403B-944B-4F3D0F251F26}" dt="2023-05-18T21:37:18.801" v="0"/>
      <pc:docMkLst>
        <pc:docMk/>
      </pc:docMkLst>
      <pc:sldChg chg="del">
        <pc:chgData name="Wu, Jing" userId="S::jing.wu@unisg.ch::185a692c-9f7b-4ee2-912c-20396d42d98e" providerId="AD" clId="Web-{1A00FD38-D445-403B-944B-4F3D0F251F26}" dt="2023-05-18T21:37:18.801" v="0"/>
        <pc:sldMkLst>
          <pc:docMk/>
          <pc:sldMk cId="2456456787" sldId="1598"/>
        </pc:sldMkLst>
      </pc:sldChg>
    </pc:docChg>
  </pc:docChgLst>
  <pc:docChgLst>
    <pc:chgData name="Wu, Jing" userId="185a692c-9f7b-4ee2-912c-20396d42d98e" providerId="ADAL" clId="{8DE3B8BB-31D1-C341-89EB-5C3D120DB088}"/>
    <pc:docChg chg="undo custSel addSld delSld modSld">
      <pc:chgData name="Wu, Jing" userId="185a692c-9f7b-4ee2-912c-20396d42d98e" providerId="ADAL" clId="{8DE3B8BB-31D1-C341-89EB-5C3D120DB088}" dt="2023-05-17T15:24:21.033" v="90"/>
      <pc:docMkLst>
        <pc:docMk/>
      </pc:docMkLst>
      <pc:sldChg chg="modSp mod">
        <pc:chgData name="Wu, Jing" userId="185a692c-9f7b-4ee2-912c-20396d42d98e" providerId="ADAL" clId="{8DE3B8BB-31D1-C341-89EB-5C3D120DB088}" dt="2023-05-17T15:23:40.080" v="78" actId="20577"/>
        <pc:sldMkLst>
          <pc:docMk/>
          <pc:sldMk cId="2946332310" sldId="1460"/>
        </pc:sldMkLst>
        <pc:spChg chg="mod">
          <ac:chgData name="Wu, Jing" userId="185a692c-9f7b-4ee2-912c-20396d42d98e" providerId="ADAL" clId="{8DE3B8BB-31D1-C341-89EB-5C3D120DB088}" dt="2023-05-17T15:23:40.080" v="78" actId="20577"/>
          <ac:spMkLst>
            <pc:docMk/>
            <pc:sldMk cId="2946332310" sldId="1460"/>
            <ac:spMk id="2" creationId="{38C104DD-55A5-D5D7-68B1-A81097757DA7}"/>
          </ac:spMkLst>
        </pc:spChg>
      </pc:sldChg>
      <pc:sldChg chg="modSp mod">
        <pc:chgData name="Wu, Jing" userId="185a692c-9f7b-4ee2-912c-20396d42d98e" providerId="ADAL" clId="{8DE3B8BB-31D1-C341-89EB-5C3D120DB088}" dt="2023-05-17T15:23:44.783" v="81" actId="20577"/>
        <pc:sldMkLst>
          <pc:docMk/>
          <pc:sldMk cId="860905568" sldId="1461"/>
        </pc:sldMkLst>
        <pc:spChg chg="mod">
          <ac:chgData name="Wu, Jing" userId="185a692c-9f7b-4ee2-912c-20396d42d98e" providerId="ADAL" clId="{8DE3B8BB-31D1-C341-89EB-5C3D120DB088}" dt="2023-05-17T15:23:44.783" v="81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 mod">
        <pc:chgData name="Wu, Jing" userId="185a692c-9f7b-4ee2-912c-20396d42d98e" providerId="ADAL" clId="{8DE3B8BB-31D1-C341-89EB-5C3D120DB088}" dt="2023-05-17T15:18:49.448" v="6" actId="20577"/>
        <pc:sldMkLst>
          <pc:docMk/>
          <pc:sldMk cId="455783933" sldId="1496"/>
        </pc:sldMkLst>
        <pc:spChg chg="mod">
          <ac:chgData name="Wu, Jing" userId="185a692c-9f7b-4ee2-912c-20396d42d98e" providerId="ADAL" clId="{8DE3B8BB-31D1-C341-89EB-5C3D120DB088}" dt="2023-05-17T15:18:49.448" v="6" actId="20577"/>
          <ac:spMkLst>
            <pc:docMk/>
            <pc:sldMk cId="455783933" sldId="1496"/>
            <ac:spMk id="2" creationId="{C36256A2-67B2-CA01-7417-6A9C17C6B307}"/>
          </ac:spMkLst>
        </pc:spChg>
      </pc:sldChg>
      <pc:sldChg chg="modSp mod">
        <pc:chgData name="Wu, Jing" userId="185a692c-9f7b-4ee2-912c-20396d42d98e" providerId="ADAL" clId="{8DE3B8BB-31D1-C341-89EB-5C3D120DB088}" dt="2023-05-17T15:24:21.033" v="90"/>
        <pc:sldMkLst>
          <pc:docMk/>
          <pc:sldMk cId="723318487" sldId="1582"/>
        </pc:sldMkLst>
        <pc:spChg chg="mod">
          <ac:chgData name="Wu, Jing" userId="185a692c-9f7b-4ee2-912c-20396d42d98e" providerId="ADAL" clId="{8DE3B8BB-31D1-C341-89EB-5C3D120DB088}" dt="2023-05-17T13:31:24.953" v="3" actId="20577"/>
          <ac:spMkLst>
            <pc:docMk/>
            <pc:sldMk cId="723318487" sldId="1582"/>
            <ac:spMk id="3" creationId="{D457EF17-3F8F-5F3C-D235-ABE6EEBEC219}"/>
          </ac:spMkLst>
        </pc:spChg>
        <pc:spChg chg="mod">
          <ac:chgData name="Wu, Jing" userId="185a692c-9f7b-4ee2-912c-20396d42d98e" providerId="ADAL" clId="{8DE3B8BB-31D1-C341-89EB-5C3D120DB088}" dt="2023-05-17T15:24:21.033" v="90"/>
          <ac:spMkLst>
            <pc:docMk/>
            <pc:sldMk cId="723318487" sldId="1582"/>
            <ac:spMk id="6" creationId="{F5EEC294-B771-D940-6194-AB1896DE8ECA}"/>
          </ac:spMkLst>
        </pc:spChg>
      </pc:sldChg>
      <pc:sldChg chg="del">
        <pc:chgData name="Wu, Jing" userId="185a692c-9f7b-4ee2-912c-20396d42d98e" providerId="ADAL" clId="{8DE3B8BB-31D1-C341-89EB-5C3D120DB088}" dt="2023-05-17T15:23:46.695" v="83" actId="2696"/>
        <pc:sldMkLst>
          <pc:docMk/>
          <pc:sldMk cId="4127138690" sldId="1586"/>
        </pc:sldMkLst>
      </pc:sldChg>
      <pc:sldChg chg="del">
        <pc:chgData name="Wu, Jing" userId="185a692c-9f7b-4ee2-912c-20396d42d98e" providerId="ADAL" clId="{8DE3B8BB-31D1-C341-89EB-5C3D120DB088}" dt="2023-05-17T15:23:46.201" v="82" actId="2696"/>
        <pc:sldMkLst>
          <pc:docMk/>
          <pc:sldMk cId="1961998598" sldId="1587"/>
        </pc:sldMkLst>
      </pc:sldChg>
      <pc:sldChg chg="addSp delSp modSp add mod">
        <pc:chgData name="Wu, Jing" userId="185a692c-9f7b-4ee2-912c-20396d42d98e" providerId="ADAL" clId="{8DE3B8BB-31D1-C341-89EB-5C3D120DB088}" dt="2023-05-17T15:21:36.612" v="71" actId="1035"/>
        <pc:sldMkLst>
          <pc:docMk/>
          <pc:sldMk cId="2456456787" sldId="1598"/>
        </pc:sldMkLst>
        <pc:spChg chg="add del mod">
          <ac:chgData name="Wu, Jing" userId="185a692c-9f7b-4ee2-912c-20396d42d98e" providerId="ADAL" clId="{8DE3B8BB-31D1-C341-89EB-5C3D120DB088}" dt="2023-05-17T15:19:17.767" v="13" actId="931"/>
          <ac:spMkLst>
            <pc:docMk/>
            <pc:sldMk cId="2456456787" sldId="1598"/>
            <ac:spMk id="5" creationId="{DE85CA5B-B2B7-63BB-E59C-E5022D610470}"/>
          </ac:spMkLst>
        </pc:spChg>
        <pc:spChg chg="del">
          <ac:chgData name="Wu, Jing" userId="185a692c-9f7b-4ee2-912c-20396d42d98e" providerId="ADAL" clId="{8DE3B8BB-31D1-C341-89EB-5C3D120DB088}" dt="2023-05-17T15:18:59.487" v="8" actId="478"/>
          <ac:spMkLst>
            <pc:docMk/>
            <pc:sldMk cId="2456456787" sldId="1598"/>
            <ac:spMk id="6" creationId="{F5EEC294-B771-D940-6194-AB1896DE8ECA}"/>
          </ac:spMkLst>
        </pc:spChg>
        <pc:spChg chg="add del">
          <ac:chgData name="Wu, Jing" userId="185a692c-9f7b-4ee2-912c-20396d42d98e" providerId="ADAL" clId="{8DE3B8BB-31D1-C341-89EB-5C3D120DB088}" dt="2023-05-17T15:19:05.240" v="11" actId="478"/>
          <ac:spMkLst>
            <pc:docMk/>
            <pc:sldMk cId="2456456787" sldId="1598"/>
            <ac:spMk id="7" creationId="{F666E8F7-8B25-B437-131E-F8882B62E16E}"/>
          </ac:spMkLst>
        </pc:spChg>
        <pc:spChg chg="add del mod">
          <ac:chgData name="Wu, Jing" userId="185a692c-9f7b-4ee2-912c-20396d42d98e" providerId="ADAL" clId="{8DE3B8BB-31D1-C341-89EB-5C3D120DB088}" dt="2023-05-17T15:19:03.605" v="10" actId="478"/>
          <ac:spMkLst>
            <pc:docMk/>
            <pc:sldMk cId="2456456787" sldId="1598"/>
            <ac:spMk id="9" creationId="{B19F794B-3F26-1107-F586-6D4DEA9D5B49}"/>
          </ac:spMkLst>
        </pc:spChg>
        <pc:spChg chg="add del mod">
          <ac:chgData name="Wu, Jing" userId="185a692c-9f7b-4ee2-912c-20396d42d98e" providerId="ADAL" clId="{8DE3B8BB-31D1-C341-89EB-5C3D120DB088}" dt="2023-05-17T15:19:06.519" v="12" actId="478"/>
          <ac:spMkLst>
            <pc:docMk/>
            <pc:sldMk cId="2456456787" sldId="1598"/>
            <ac:spMk id="11" creationId="{B2DBB0B4-8EFA-A7FF-9DE3-FF8C9A7C4968}"/>
          </ac:spMkLst>
        </pc:spChg>
        <pc:spChg chg="add mod">
          <ac:chgData name="Wu, Jing" userId="185a692c-9f7b-4ee2-912c-20396d42d98e" providerId="ADAL" clId="{8DE3B8BB-31D1-C341-89EB-5C3D120DB088}" dt="2023-05-17T15:21:36.612" v="71" actId="1035"/>
          <ac:spMkLst>
            <pc:docMk/>
            <pc:sldMk cId="2456456787" sldId="1598"/>
            <ac:spMk id="14" creationId="{76BB1EB6-404F-BC65-16C1-C7E6F722AFE9}"/>
          </ac:spMkLst>
        </pc:spChg>
        <pc:spChg chg="add mod">
          <ac:chgData name="Wu, Jing" userId="185a692c-9f7b-4ee2-912c-20396d42d98e" providerId="ADAL" clId="{8DE3B8BB-31D1-C341-89EB-5C3D120DB088}" dt="2023-05-17T15:21:36.612" v="71" actId="1035"/>
          <ac:spMkLst>
            <pc:docMk/>
            <pc:sldMk cId="2456456787" sldId="1598"/>
            <ac:spMk id="15" creationId="{A7981998-59E2-897C-FF51-67D3988239F8}"/>
          </ac:spMkLst>
        </pc:spChg>
        <pc:picChg chg="add mod">
          <ac:chgData name="Wu, Jing" userId="185a692c-9f7b-4ee2-912c-20396d42d98e" providerId="ADAL" clId="{8DE3B8BB-31D1-C341-89EB-5C3D120DB088}" dt="2023-05-17T15:20:05.827" v="29" actId="1076"/>
          <ac:picMkLst>
            <pc:docMk/>
            <pc:sldMk cId="2456456787" sldId="1598"/>
            <ac:picMk id="13" creationId="{3859DA29-4F11-AD73-945F-4F26AD2F559F}"/>
          </ac:picMkLst>
        </pc:picChg>
      </pc:sldChg>
    </pc:docChg>
  </pc:docChgLst>
  <pc:docChgLst>
    <pc:chgData name="Dominik Buchegger" userId="7f2052fac20aabcc" providerId="LiveId" clId="{85FD8747-7102-41ED-8EE2-FDFF65B33EAB}"/>
    <pc:docChg chg="undo redo custSel addSld delSld modSld sldOrd">
      <pc:chgData name="Dominik Buchegger" userId="7f2052fac20aabcc" providerId="LiveId" clId="{85FD8747-7102-41ED-8EE2-FDFF65B33EAB}" dt="2023-05-26T10:01:37.504" v="328" actId="47"/>
      <pc:docMkLst>
        <pc:docMk/>
      </pc:docMkLst>
      <pc:sldChg chg="delSp add del mod">
        <pc:chgData name="Dominik Buchegger" userId="7f2052fac20aabcc" providerId="LiveId" clId="{85FD8747-7102-41ED-8EE2-FDFF65B33EAB}" dt="2023-05-26T09:56:13.174" v="136" actId="47"/>
        <pc:sldMkLst>
          <pc:docMk/>
          <pc:sldMk cId="4128348825" sldId="407"/>
        </pc:sldMkLst>
        <pc:picChg chg="del">
          <ac:chgData name="Dominik Buchegger" userId="7f2052fac20aabcc" providerId="LiveId" clId="{85FD8747-7102-41ED-8EE2-FDFF65B33EAB}" dt="2023-05-26T09:55:54.098" v="130" actId="21"/>
          <ac:picMkLst>
            <pc:docMk/>
            <pc:sldMk cId="4128348825" sldId="407"/>
            <ac:picMk id="7" creationId="{936CF1EE-0419-D914-9F2B-A149D296F703}"/>
          </ac:picMkLst>
        </pc:picChg>
      </pc:sldChg>
      <pc:sldChg chg="delSp add del mod">
        <pc:chgData name="Dominik Buchegger" userId="7f2052fac20aabcc" providerId="LiveId" clId="{85FD8747-7102-41ED-8EE2-FDFF65B33EAB}" dt="2023-05-26T09:57:12.764" v="185" actId="47"/>
        <pc:sldMkLst>
          <pc:docMk/>
          <pc:sldMk cId="134760861" sldId="412"/>
        </pc:sldMkLst>
        <pc:picChg chg="del">
          <ac:chgData name="Dominik Buchegger" userId="7f2052fac20aabcc" providerId="LiveId" clId="{85FD8747-7102-41ED-8EE2-FDFF65B33EAB}" dt="2023-05-26T09:56:49.535" v="181" actId="21"/>
          <ac:picMkLst>
            <pc:docMk/>
            <pc:sldMk cId="134760861" sldId="412"/>
            <ac:picMk id="6" creationId="{EE5B7CED-E71C-CB05-8320-7FBCE7BB71AE}"/>
          </ac:picMkLst>
        </pc:picChg>
        <pc:picChg chg="del">
          <ac:chgData name="Dominik Buchegger" userId="7f2052fac20aabcc" providerId="LiveId" clId="{85FD8747-7102-41ED-8EE2-FDFF65B33EAB}" dt="2023-05-26T09:56:49.535" v="181" actId="21"/>
          <ac:picMkLst>
            <pc:docMk/>
            <pc:sldMk cId="134760861" sldId="412"/>
            <ac:picMk id="11" creationId="{BA8B9DEE-E513-74F0-981A-C2F2E7C8B02A}"/>
          </ac:picMkLst>
        </pc:picChg>
      </pc:sldChg>
      <pc:sldChg chg="addSp delSp modSp add del mod">
        <pc:chgData name="Dominik Buchegger" userId="7f2052fac20aabcc" providerId="LiveId" clId="{85FD8747-7102-41ED-8EE2-FDFF65B33EAB}" dt="2023-05-26T09:58:05.154" v="198" actId="47"/>
        <pc:sldMkLst>
          <pc:docMk/>
          <pc:sldMk cId="732642395" sldId="413"/>
        </pc:sldMkLst>
        <pc:spChg chg="add del mod">
          <ac:chgData name="Dominik Buchegger" userId="7f2052fac20aabcc" providerId="LiveId" clId="{85FD8747-7102-41ED-8EE2-FDFF65B33EAB}" dt="2023-05-26T09:57:30.534" v="187" actId="21"/>
          <ac:spMkLst>
            <pc:docMk/>
            <pc:sldMk cId="732642395" sldId="413"/>
            <ac:spMk id="5" creationId="{55BBCADB-8EF1-2E44-3D4D-FA8F2729DD2A}"/>
          </ac:spMkLst>
        </pc:spChg>
        <pc:picChg chg="add del">
          <ac:chgData name="Dominik Buchegger" userId="7f2052fac20aabcc" providerId="LiveId" clId="{85FD8747-7102-41ED-8EE2-FDFF65B33EAB}" dt="2023-05-26T09:57:30.534" v="187" actId="21"/>
          <ac:picMkLst>
            <pc:docMk/>
            <pc:sldMk cId="732642395" sldId="413"/>
            <ac:picMk id="4" creationId="{E4018604-2921-1AE2-EED6-82069F6D5B5D}"/>
          </ac:picMkLst>
        </pc:picChg>
      </pc:sldChg>
      <pc:sldChg chg="addSp delSp modSp add del mod">
        <pc:chgData name="Dominik Buchegger" userId="7f2052fac20aabcc" providerId="LiveId" clId="{85FD8747-7102-41ED-8EE2-FDFF65B33EAB}" dt="2023-05-26T10:01:37.504" v="328" actId="47"/>
        <pc:sldMkLst>
          <pc:docMk/>
          <pc:sldMk cId="1975690118" sldId="414"/>
        </pc:sldMkLst>
        <pc:spChg chg="del">
          <ac:chgData name="Dominik Buchegger" userId="7f2052fac20aabcc" providerId="LiveId" clId="{85FD8747-7102-41ED-8EE2-FDFF65B33EAB}" dt="2023-05-26T09:59:27.693" v="226" actId="21"/>
          <ac:spMkLst>
            <pc:docMk/>
            <pc:sldMk cId="1975690118" sldId="414"/>
            <ac:spMk id="9" creationId="{32838F5E-AF6D-E0D0-88C1-B772B40F2D01}"/>
          </ac:spMkLst>
        </pc:spChg>
        <pc:picChg chg="add del mod">
          <ac:chgData name="Dominik Buchegger" userId="7f2052fac20aabcc" providerId="LiveId" clId="{85FD8747-7102-41ED-8EE2-FDFF65B33EAB}" dt="2023-05-26T10:00:29.885" v="285" actId="14100"/>
          <ac:picMkLst>
            <pc:docMk/>
            <pc:sldMk cId="1975690118" sldId="414"/>
            <ac:picMk id="7" creationId="{923E7382-3C55-EBBD-A4A5-60F81BFDDC9F}"/>
          </ac:picMkLst>
        </pc:picChg>
      </pc:sldChg>
      <pc:sldChg chg="addSp delSp modSp add del mod">
        <pc:chgData name="Dominik Buchegger" userId="7f2052fac20aabcc" providerId="LiveId" clId="{85FD8747-7102-41ED-8EE2-FDFF65B33EAB}" dt="2023-05-26T09:59:16.993" v="224" actId="47"/>
        <pc:sldMkLst>
          <pc:docMk/>
          <pc:sldMk cId="3101854392" sldId="415"/>
        </pc:sldMkLst>
        <pc:spChg chg="add del mod">
          <ac:chgData name="Dominik Buchegger" userId="7f2052fac20aabcc" providerId="LiveId" clId="{85FD8747-7102-41ED-8EE2-FDFF65B33EAB}" dt="2023-05-26T09:58:36.921" v="211" actId="478"/>
          <ac:spMkLst>
            <pc:docMk/>
            <pc:sldMk cId="3101854392" sldId="415"/>
            <ac:spMk id="4" creationId="{17C4DBBF-190D-85BF-08FA-47BFB1C7B779}"/>
          </ac:spMkLst>
        </pc:spChg>
        <pc:spChg chg="del">
          <ac:chgData name="Dominik Buchegger" userId="7f2052fac20aabcc" providerId="LiveId" clId="{85FD8747-7102-41ED-8EE2-FDFF65B33EAB}" dt="2023-05-26T09:58:22.955" v="207" actId="21"/>
          <ac:spMkLst>
            <pc:docMk/>
            <pc:sldMk cId="3101854392" sldId="415"/>
            <ac:spMk id="5" creationId="{498D56E0-B7C1-0FBF-4D94-3DEC83BE5C5B}"/>
          </ac:spMkLst>
        </pc:spChg>
        <pc:picChg chg="del">
          <ac:chgData name="Dominik Buchegger" userId="7f2052fac20aabcc" providerId="LiveId" clId="{85FD8747-7102-41ED-8EE2-FDFF65B33EAB}" dt="2023-05-26T09:58:39.760" v="212" actId="21"/>
          <ac:picMkLst>
            <pc:docMk/>
            <pc:sldMk cId="3101854392" sldId="415"/>
            <ac:picMk id="10" creationId="{FB4FB74D-9BD1-0FB5-1253-2ED03ECDB37A}"/>
          </ac:picMkLst>
        </pc:picChg>
        <pc:picChg chg="del">
          <ac:chgData name="Dominik Buchegger" userId="7f2052fac20aabcc" providerId="LiveId" clId="{85FD8747-7102-41ED-8EE2-FDFF65B33EAB}" dt="2023-05-26T09:58:39.760" v="212" actId="21"/>
          <ac:picMkLst>
            <pc:docMk/>
            <pc:sldMk cId="3101854392" sldId="415"/>
            <ac:picMk id="12" creationId="{8F6B6564-05C1-06B1-701D-27A32351A987}"/>
          </ac:picMkLst>
        </pc:picChg>
        <pc:picChg chg="del">
          <ac:chgData name="Dominik Buchegger" userId="7f2052fac20aabcc" providerId="LiveId" clId="{85FD8747-7102-41ED-8EE2-FDFF65B33EAB}" dt="2023-05-26T09:58:39.760" v="212" actId="21"/>
          <ac:picMkLst>
            <pc:docMk/>
            <pc:sldMk cId="3101854392" sldId="415"/>
            <ac:picMk id="14" creationId="{394722B9-28F8-1C49-B528-5622AB5B633C}"/>
          </ac:picMkLst>
        </pc:picChg>
      </pc:sldChg>
      <pc:sldChg chg="modSp mod">
        <pc:chgData name="Dominik Buchegger" userId="7f2052fac20aabcc" providerId="LiveId" clId="{85FD8747-7102-41ED-8EE2-FDFF65B33EAB}" dt="2023-05-26T09:54:26.142" v="67" actId="20577"/>
        <pc:sldMkLst>
          <pc:docMk/>
          <pc:sldMk cId="2946332310" sldId="1460"/>
        </pc:sldMkLst>
        <pc:spChg chg="mod">
          <ac:chgData name="Dominik Buchegger" userId="7f2052fac20aabcc" providerId="LiveId" clId="{85FD8747-7102-41ED-8EE2-FDFF65B33EAB}" dt="2023-05-26T09:54:26.142" v="67" actId="20577"/>
          <ac:spMkLst>
            <pc:docMk/>
            <pc:sldMk cId="2946332310" sldId="1460"/>
            <ac:spMk id="2" creationId="{38C104DD-55A5-D5D7-68B1-A81097757DA7}"/>
          </ac:spMkLst>
        </pc:spChg>
      </pc:sldChg>
      <pc:sldChg chg="modSp mod">
        <pc:chgData name="Dominik Buchegger" userId="7f2052fac20aabcc" providerId="LiveId" clId="{85FD8747-7102-41ED-8EE2-FDFF65B33EAB}" dt="2023-05-26T09:55:25.262" v="112" actId="20577"/>
        <pc:sldMkLst>
          <pc:docMk/>
          <pc:sldMk cId="723318487" sldId="1582"/>
        </pc:sldMkLst>
        <pc:spChg chg="mod">
          <ac:chgData name="Dominik Buchegger" userId="7f2052fac20aabcc" providerId="LiveId" clId="{85FD8747-7102-41ED-8EE2-FDFF65B33EAB}" dt="2023-05-26T09:55:25.262" v="112" actId="20577"/>
          <ac:spMkLst>
            <pc:docMk/>
            <pc:sldMk cId="723318487" sldId="1582"/>
            <ac:spMk id="3" creationId="{D457EF17-3F8F-5F3C-D235-ABE6EEBEC219}"/>
          </ac:spMkLst>
        </pc:spChg>
      </pc:sldChg>
      <pc:sldChg chg="modSp mod">
        <pc:chgData name="Dominik Buchegger" userId="7f2052fac20aabcc" providerId="LiveId" clId="{85FD8747-7102-41ED-8EE2-FDFF65B33EAB}" dt="2023-05-26T09:54:45.557" v="102" actId="20577"/>
        <pc:sldMkLst>
          <pc:docMk/>
          <pc:sldMk cId="4075358184" sldId="1592"/>
        </pc:sldMkLst>
        <pc:spChg chg="mod">
          <ac:chgData name="Dominik Buchegger" userId="7f2052fac20aabcc" providerId="LiveId" clId="{85FD8747-7102-41ED-8EE2-FDFF65B33EAB}" dt="2023-05-26T09:54:45.557" v="102" actId="20577"/>
          <ac:spMkLst>
            <pc:docMk/>
            <pc:sldMk cId="4075358184" sldId="1592"/>
            <ac:spMk id="2" creationId="{A92E3E48-FF8A-5E4C-67CC-8B0608A09C2C}"/>
          </ac:spMkLst>
        </pc:spChg>
      </pc:sldChg>
      <pc:sldChg chg="add">
        <pc:chgData name="Dominik Buchegger" userId="7f2052fac20aabcc" providerId="LiveId" clId="{85FD8747-7102-41ED-8EE2-FDFF65B33EAB}" dt="2023-05-26T09:54:36.215" v="71" actId="2890"/>
        <pc:sldMkLst>
          <pc:docMk/>
          <pc:sldMk cId="3045189852" sldId="1595"/>
        </pc:sldMkLst>
      </pc:sldChg>
      <pc:sldChg chg="addSp delSp modSp add mod ord modClrScheme chgLayout">
        <pc:chgData name="Dominik Buchegger" userId="7f2052fac20aabcc" providerId="LiveId" clId="{85FD8747-7102-41ED-8EE2-FDFF65B33EAB}" dt="2023-05-26T09:56:17.160" v="149" actId="1036"/>
        <pc:sldMkLst>
          <pc:docMk/>
          <pc:sldMk cId="3303679470" sldId="1596"/>
        </pc:sldMkLst>
        <pc:spChg chg="mod">
          <ac:chgData name="Dominik Buchegger" userId="7f2052fac20aabcc" providerId="LiveId" clId="{85FD8747-7102-41ED-8EE2-FDFF65B33EAB}" dt="2023-05-26T09:55:59.834" v="133" actId="26606"/>
          <ac:spMkLst>
            <pc:docMk/>
            <pc:sldMk cId="3303679470" sldId="1596"/>
            <ac:spMk id="3" creationId="{D457EF17-3F8F-5F3C-D235-ABE6EEBEC219}"/>
          </ac:spMkLst>
        </pc:spChg>
        <pc:spChg chg="mod ord">
          <ac:chgData name="Dominik Buchegger" userId="7f2052fac20aabcc" providerId="LiveId" clId="{85FD8747-7102-41ED-8EE2-FDFF65B33EAB}" dt="2023-05-26T09:55:59.834" v="133" actId="26606"/>
          <ac:spMkLst>
            <pc:docMk/>
            <pc:sldMk cId="3303679470" sldId="1596"/>
            <ac:spMk id="4" creationId="{B9ADA6DF-7210-51C0-FF3B-4ADB643A42C6}"/>
          </ac:spMkLst>
        </pc:spChg>
        <pc:spChg chg="add del mod">
          <ac:chgData name="Dominik Buchegger" userId="7f2052fac20aabcc" providerId="LiveId" clId="{85FD8747-7102-41ED-8EE2-FDFF65B33EAB}" dt="2023-05-26T09:55:59.834" v="133" actId="26606"/>
          <ac:spMkLst>
            <pc:docMk/>
            <pc:sldMk cId="3303679470" sldId="1596"/>
            <ac:spMk id="5" creationId="{57B42430-8435-A65B-197D-65524499B7AE}"/>
          </ac:spMkLst>
        </pc:spChg>
        <pc:spChg chg="del">
          <ac:chgData name="Dominik Buchegger" userId="7f2052fac20aabcc" providerId="LiveId" clId="{85FD8747-7102-41ED-8EE2-FDFF65B33EAB}" dt="2023-05-26T09:55:51.625" v="129" actId="478"/>
          <ac:spMkLst>
            <pc:docMk/>
            <pc:sldMk cId="3303679470" sldId="1596"/>
            <ac:spMk id="6" creationId="{F5EEC294-B771-D940-6194-AB1896DE8ECA}"/>
          </ac:spMkLst>
        </pc:spChg>
        <pc:spChg chg="mod">
          <ac:chgData name="Dominik Buchegger" userId="7f2052fac20aabcc" providerId="LiveId" clId="{85FD8747-7102-41ED-8EE2-FDFF65B33EAB}" dt="2023-05-26T09:55:59.834" v="133" actId="26606"/>
          <ac:spMkLst>
            <pc:docMk/>
            <pc:sldMk cId="3303679470" sldId="1596"/>
            <ac:spMk id="7" creationId="{F666E8F7-8B25-B437-131E-F8882B62E16E}"/>
          </ac:spMkLst>
        </pc:spChg>
        <pc:picChg chg="add mod ord">
          <ac:chgData name="Dominik Buchegger" userId="7f2052fac20aabcc" providerId="LiveId" clId="{85FD8747-7102-41ED-8EE2-FDFF65B33EAB}" dt="2023-05-26T09:56:17.160" v="149" actId="1036"/>
          <ac:picMkLst>
            <pc:docMk/>
            <pc:sldMk cId="3303679470" sldId="1596"/>
            <ac:picMk id="8" creationId="{671D05B9-29AE-0028-56DD-5C312C98259A}"/>
          </ac:picMkLst>
        </pc:picChg>
      </pc:sldChg>
      <pc:sldChg chg="addSp delSp modSp add mod">
        <pc:chgData name="Dominik Buchegger" userId="7f2052fac20aabcc" providerId="LiveId" clId="{85FD8747-7102-41ED-8EE2-FDFF65B33EAB}" dt="2023-05-26T09:57:04.051" v="184" actId="1076"/>
        <pc:sldMkLst>
          <pc:docMk/>
          <pc:sldMk cId="2053395501" sldId="1597"/>
        </pc:sldMkLst>
        <pc:spChg chg="add mod">
          <ac:chgData name="Dominik Buchegger" userId="7f2052fac20aabcc" providerId="LiveId" clId="{85FD8747-7102-41ED-8EE2-FDFF65B33EAB}" dt="2023-05-26T09:57:04.051" v="184" actId="1076"/>
          <ac:spMkLst>
            <pc:docMk/>
            <pc:sldMk cId="2053395501" sldId="1597"/>
            <ac:spMk id="5" creationId="{C219D8A7-B7EA-1462-392C-26995262A496}"/>
          </ac:spMkLst>
        </pc:spChg>
        <pc:spChg chg="mod">
          <ac:chgData name="Dominik Buchegger" userId="7f2052fac20aabcc" providerId="LiveId" clId="{85FD8747-7102-41ED-8EE2-FDFF65B33EAB}" dt="2023-05-26T09:56:30.426" v="176" actId="20577"/>
          <ac:spMkLst>
            <pc:docMk/>
            <pc:sldMk cId="2053395501" sldId="1597"/>
            <ac:spMk id="7" creationId="{F666E8F7-8B25-B437-131E-F8882B62E16E}"/>
          </ac:spMkLst>
        </pc:spChg>
        <pc:picChg chg="add mod">
          <ac:chgData name="Dominik Buchegger" userId="7f2052fac20aabcc" providerId="LiveId" clId="{85FD8747-7102-41ED-8EE2-FDFF65B33EAB}" dt="2023-05-26T09:56:55.636" v="183" actId="1076"/>
          <ac:picMkLst>
            <pc:docMk/>
            <pc:sldMk cId="2053395501" sldId="1597"/>
            <ac:picMk id="6" creationId="{6671249F-C94A-95CF-B0BA-702A1DB810A2}"/>
          </ac:picMkLst>
        </pc:picChg>
        <pc:picChg chg="del">
          <ac:chgData name="Dominik Buchegger" userId="7f2052fac20aabcc" providerId="LiveId" clId="{85FD8747-7102-41ED-8EE2-FDFF65B33EAB}" dt="2023-05-26T09:56:39.301" v="177" actId="478"/>
          <ac:picMkLst>
            <pc:docMk/>
            <pc:sldMk cId="2053395501" sldId="1597"/>
            <ac:picMk id="8" creationId="{671D05B9-29AE-0028-56DD-5C312C98259A}"/>
          </ac:picMkLst>
        </pc:picChg>
        <pc:picChg chg="add mod">
          <ac:chgData name="Dominik Buchegger" userId="7f2052fac20aabcc" providerId="LiveId" clId="{85FD8747-7102-41ED-8EE2-FDFF65B33EAB}" dt="2023-05-26T09:56:55.636" v="183" actId="1076"/>
          <ac:picMkLst>
            <pc:docMk/>
            <pc:sldMk cId="2053395501" sldId="1597"/>
            <ac:picMk id="9" creationId="{7E480E52-ED2B-EA3E-3B6B-E7F8BABFF2BB}"/>
          </ac:picMkLst>
        </pc:picChg>
      </pc:sldChg>
      <pc:sldChg chg="addSp delSp modSp add mod">
        <pc:chgData name="Dominik Buchegger" userId="7f2052fac20aabcc" providerId="LiveId" clId="{85FD8747-7102-41ED-8EE2-FDFF65B33EAB}" dt="2023-05-26T09:58:00.508" v="197"/>
        <pc:sldMkLst>
          <pc:docMk/>
          <pc:sldMk cId="3384394647" sldId="1598"/>
        </pc:sldMkLst>
        <pc:spChg chg="del">
          <ac:chgData name="Dominik Buchegger" userId="7f2052fac20aabcc" providerId="LiveId" clId="{85FD8747-7102-41ED-8EE2-FDFF65B33EAB}" dt="2023-05-26T09:57:43.201" v="191" actId="478"/>
          <ac:spMkLst>
            <pc:docMk/>
            <pc:sldMk cId="3384394647" sldId="1598"/>
            <ac:spMk id="5" creationId="{C219D8A7-B7EA-1462-392C-26995262A496}"/>
          </ac:spMkLst>
        </pc:spChg>
        <pc:spChg chg="mod">
          <ac:chgData name="Dominik Buchegger" userId="7f2052fac20aabcc" providerId="LiveId" clId="{85FD8747-7102-41ED-8EE2-FDFF65B33EAB}" dt="2023-05-26T09:57:41.342" v="190"/>
          <ac:spMkLst>
            <pc:docMk/>
            <pc:sldMk cId="3384394647" sldId="1598"/>
            <ac:spMk id="7" creationId="{F666E8F7-8B25-B437-131E-F8882B62E16E}"/>
          </ac:spMkLst>
        </pc:spChg>
        <pc:spChg chg="add mod">
          <ac:chgData name="Dominik Buchegger" userId="7f2052fac20aabcc" providerId="LiveId" clId="{85FD8747-7102-41ED-8EE2-FDFF65B33EAB}" dt="2023-05-26T09:58:00.508" v="197"/>
          <ac:spMkLst>
            <pc:docMk/>
            <pc:sldMk cId="3384394647" sldId="1598"/>
            <ac:spMk id="8" creationId="{B1034857-7B95-4EC5-1FA2-BC65E4B8900D}"/>
          </ac:spMkLst>
        </pc:spChg>
        <pc:picChg chg="add mod">
          <ac:chgData name="Dominik Buchegger" userId="7f2052fac20aabcc" providerId="LiveId" clId="{85FD8747-7102-41ED-8EE2-FDFF65B33EAB}" dt="2023-05-26T09:57:53.772" v="196" actId="1076"/>
          <ac:picMkLst>
            <pc:docMk/>
            <pc:sldMk cId="3384394647" sldId="1598"/>
            <ac:picMk id="2" creationId="{423DF81A-5EBE-0F27-2F90-33ECAF4CFE10}"/>
          </ac:picMkLst>
        </pc:picChg>
        <pc:picChg chg="del">
          <ac:chgData name="Dominik Buchegger" userId="7f2052fac20aabcc" providerId="LiveId" clId="{85FD8747-7102-41ED-8EE2-FDFF65B33EAB}" dt="2023-05-26T09:57:44.088" v="192" actId="478"/>
          <ac:picMkLst>
            <pc:docMk/>
            <pc:sldMk cId="3384394647" sldId="1598"/>
            <ac:picMk id="6" creationId="{6671249F-C94A-95CF-B0BA-702A1DB810A2}"/>
          </ac:picMkLst>
        </pc:picChg>
        <pc:picChg chg="del">
          <ac:chgData name="Dominik Buchegger" userId="7f2052fac20aabcc" providerId="LiveId" clId="{85FD8747-7102-41ED-8EE2-FDFF65B33EAB}" dt="2023-05-26T09:57:48.927" v="194" actId="478"/>
          <ac:picMkLst>
            <pc:docMk/>
            <pc:sldMk cId="3384394647" sldId="1598"/>
            <ac:picMk id="9" creationId="{7E480E52-ED2B-EA3E-3B6B-E7F8BABFF2BB}"/>
          </ac:picMkLst>
        </pc:picChg>
      </pc:sldChg>
      <pc:sldChg chg="addSp delSp modSp add mod">
        <pc:chgData name="Dominik Buchegger" userId="7f2052fac20aabcc" providerId="LiveId" clId="{85FD8747-7102-41ED-8EE2-FDFF65B33EAB}" dt="2023-05-26T09:59:11.635" v="223" actId="1076"/>
        <pc:sldMkLst>
          <pc:docMk/>
          <pc:sldMk cId="1111473440" sldId="1599"/>
        </pc:sldMkLst>
        <pc:spChg chg="add mod">
          <ac:chgData name="Dominik Buchegger" userId="7f2052fac20aabcc" providerId="LiveId" clId="{85FD8747-7102-41ED-8EE2-FDFF65B33EAB}" dt="2023-05-26T09:58:53.365" v="221" actId="20577"/>
          <ac:spMkLst>
            <pc:docMk/>
            <pc:sldMk cId="1111473440" sldId="1599"/>
            <ac:spMk id="5" creationId="{58193047-7657-33F2-79DE-B3ED46EA9DF0}"/>
          </ac:spMkLst>
        </pc:spChg>
        <pc:spChg chg="mod">
          <ac:chgData name="Dominik Buchegger" userId="7f2052fac20aabcc" providerId="LiveId" clId="{85FD8747-7102-41ED-8EE2-FDFF65B33EAB}" dt="2023-05-26T09:58:17.265" v="206" actId="20577"/>
          <ac:spMkLst>
            <pc:docMk/>
            <pc:sldMk cId="1111473440" sldId="1599"/>
            <ac:spMk id="7" creationId="{F666E8F7-8B25-B437-131E-F8882B62E16E}"/>
          </ac:spMkLst>
        </pc:spChg>
        <pc:picChg chg="del">
          <ac:chgData name="Dominik Buchegger" userId="7f2052fac20aabcc" providerId="LiveId" clId="{85FD8747-7102-41ED-8EE2-FDFF65B33EAB}" dt="2023-05-26T09:58:25.121" v="208" actId="478"/>
          <ac:picMkLst>
            <pc:docMk/>
            <pc:sldMk cId="1111473440" sldId="1599"/>
            <ac:picMk id="2" creationId="{423DF81A-5EBE-0F27-2F90-33ECAF4CFE10}"/>
          </ac:picMkLst>
        </pc:picChg>
        <pc:picChg chg="add mod">
          <ac:chgData name="Dominik Buchegger" userId="7f2052fac20aabcc" providerId="LiveId" clId="{85FD8747-7102-41ED-8EE2-FDFF65B33EAB}" dt="2023-05-26T09:58:52.131" v="218" actId="1076"/>
          <ac:picMkLst>
            <pc:docMk/>
            <pc:sldMk cId="1111473440" sldId="1599"/>
            <ac:picMk id="6" creationId="{108602E5-E686-61B3-7EB7-8C2ABDCC1DA2}"/>
          </ac:picMkLst>
        </pc:picChg>
        <pc:picChg chg="add mod">
          <ac:chgData name="Dominik Buchegger" userId="7f2052fac20aabcc" providerId="LiveId" clId="{85FD8747-7102-41ED-8EE2-FDFF65B33EAB}" dt="2023-05-26T09:58:58.083" v="222" actId="1076"/>
          <ac:picMkLst>
            <pc:docMk/>
            <pc:sldMk cId="1111473440" sldId="1599"/>
            <ac:picMk id="9" creationId="{4AA48095-8DBB-195F-BF7A-BB960778609F}"/>
          </ac:picMkLst>
        </pc:picChg>
        <pc:picChg chg="add mod">
          <ac:chgData name="Dominik Buchegger" userId="7f2052fac20aabcc" providerId="LiveId" clId="{85FD8747-7102-41ED-8EE2-FDFF65B33EAB}" dt="2023-05-26T09:59:11.635" v="223" actId="1076"/>
          <ac:picMkLst>
            <pc:docMk/>
            <pc:sldMk cId="1111473440" sldId="1599"/>
            <ac:picMk id="10" creationId="{45C42B88-62CE-7FAC-70AF-8384714E7A4D}"/>
          </ac:picMkLst>
        </pc:picChg>
      </pc:sldChg>
      <pc:sldChg chg="addSp delSp modSp add mod modClrScheme chgLayout">
        <pc:chgData name="Dominik Buchegger" userId="7f2052fac20aabcc" providerId="LiveId" clId="{85FD8747-7102-41ED-8EE2-FDFF65B33EAB}" dt="2023-05-26T10:01:31.138" v="327" actId="2085"/>
        <pc:sldMkLst>
          <pc:docMk/>
          <pc:sldMk cId="3746087758" sldId="1600"/>
        </pc:sldMkLst>
        <pc:spChg chg="add del mod">
          <ac:chgData name="Dominik Buchegger" userId="7f2052fac20aabcc" providerId="LiveId" clId="{85FD8747-7102-41ED-8EE2-FDFF65B33EAB}" dt="2023-05-26T10:01:03.694" v="313" actId="478"/>
          <ac:spMkLst>
            <pc:docMk/>
            <pc:sldMk cId="3746087758" sldId="1600"/>
            <ac:spMk id="2" creationId="{C3ADFA4E-7836-A332-0CD1-CD53E196EED2}"/>
          </ac:spMkLst>
        </pc:spChg>
        <pc:spChg chg="mod ord">
          <ac:chgData name="Dominik Buchegger" userId="7f2052fac20aabcc" providerId="LiveId" clId="{85FD8747-7102-41ED-8EE2-FDFF65B33EAB}" dt="2023-05-26T10:00:03.130" v="276" actId="26606"/>
          <ac:spMkLst>
            <pc:docMk/>
            <pc:sldMk cId="3746087758" sldId="1600"/>
            <ac:spMk id="3" creationId="{D457EF17-3F8F-5F3C-D235-ABE6EEBEC219}"/>
          </ac:spMkLst>
        </pc:spChg>
        <pc:spChg chg="mod ord">
          <ac:chgData name="Dominik Buchegger" userId="7f2052fac20aabcc" providerId="LiveId" clId="{85FD8747-7102-41ED-8EE2-FDFF65B33EAB}" dt="2023-05-26T10:00:03.130" v="276" actId="26606"/>
          <ac:spMkLst>
            <pc:docMk/>
            <pc:sldMk cId="3746087758" sldId="1600"/>
            <ac:spMk id="4" creationId="{B9ADA6DF-7210-51C0-FF3B-4ADB643A42C6}"/>
          </ac:spMkLst>
        </pc:spChg>
        <pc:spChg chg="add del">
          <ac:chgData name="Dominik Buchegger" userId="7f2052fac20aabcc" providerId="LiveId" clId="{85FD8747-7102-41ED-8EE2-FDFF65B33EAB}" dt="2023-05-26T10:00:41.175" v="299" actId="478"/>
          <ac:spMkLst>
            <pc:docMk/>
            <pc:sldMk cId="3746087758" sldId="1600"/>
            <ac:spMk id="5" creationId="{58193047-7657-33F2-79DE-B3ED46EA9DF0}"/>
          </ac:spMkLst>
        </pc:spChg>
        <pc:spChg chg="mod">
          <ac:chgData name="Dominik Buchegger" userId="7f2052fac20aabcc" providerId="LiveId" clId="{85FD8747-7102-41ED-8EE2-FDFF65B33EAB}" dt="2023-05-26T10:00:35.189" v="296" actId="20577"/>
          <ac:spMkLst>
            <pc:docMk/>
            <pc:sldMk cId="3746087758" sldId="1600"/>
            <ac:spMk id="7" creationId="{F666E8F7-8B25-B437-131E-F8882B62E16E}"/>
          </ac:spMkLst>
        </pc:spChg>
        <pc:spChg chg="del">
          <ac:chgData name="Dominik Buchegger" userId="7f2052fac20aabcc" providerId="LiveId" clId="{85FD8747-7102-41ED-8EE2-FDFF65B33EAB}" dt="2023-05-26T09:59:31.656" v="227" actId="478"/>
          <ac:spMkLst>
            <pc:docMk/>
            <pc:sldMk cId="3746087758" sldId="1600"/>
            <ac:spMk id="8" creationId="{B1034857-7B95-4EC5-1FA2-BC65E4B8900D}"/>
          </ac:spMkLst>
        </pc:spChg>
        <pc:spChg chg="add mod">
          <ac:chgData name="Dominik Buchegger" userId="7f2052fac20aabcc" providerId="LiveId" clId="{85FD8747-7102-41ED-8EE2-FDFF65B33EAB}" dt="2023-05-26T10:01:31.138" v="327" actId="2085"/>
          <ac:spMkLst>
            <pc:docMk/>
            <pc:sldMk cId="3746087758" sldId="1600"/>
            <ac:spMk id="12" creationId="{0D4F6B2D-F561-9410-CEEE-ABF398C17DE3}"/>
          </ac:spMkLst>
        </pc:spChg>
        <pc:spChg chg="add del mod">
          <ac:chgData name="Dominik Buchegger" userId="7f2052fac20aabcc" providerId="LiveId" clId="{85FD8747-7102-41ED-8EE2-FDFF65B33EAB}" dt="2023-05-26T10:00:42.744" v="300" actId="478"/>
          <ac:spMkLst>
            <pc:docMk/>
            <pc:sldMk cId="3746087758" sldId="1600"/>
            <ac:spMk id="16" creationId="{7BBBE37A-66BE-BF5E-F833-B25E12C19AD5}"/>
          </ac:spMkLst>
        </pc:spChg>
        <pc:spChg chg="add mod">
          <ac:chgData name="Dominik Buchegger" userId="7f2052fac20aabcc" providerId="LiveId" clId="{85FD8747-7102-41ED-8EE2-FDFF65B33EAB}" dt="2023-05-26T10:00:03.130" v="276" actId="26606"/>
          <ac:spMkLst>
            <pc:docMk/>
            <pc:sldMk cId="3746087758" sldId="1600"/>
            <ac:spMk id="18" creationId="{70DE67E8-DB1D-3E9C-C74D-5AE8F8FCBE86}"/>
          </ac:spMkLst>
        </pc:spChg>
        <pc:picChg chg="add del">
          <ac:chgData name="Dominik Buchegger" userId="7f2052fac20aabcc" providerId="LiveId" clId="{85FD8747-7102-41ED-8EE2-FDFF65B33EAB}" dt="2023-05-26T10:00:38.297" v="298" actId="478"/>
          <ac:picMkLst>
            <pc:docMk/>
            <pc:sldMk cId="3746087758" sldId="1600"/>
            <ac:picMk id="6" creationId="{108602E5-E686-61B3-7EB7-8C2ABDCC1DA2}"/>
          </ac:picMkLst>
        </pc:picChg>
        <pc:picChg chg="add del">
          <ac:chgData name="Dominik Buchegger" userId="7f2052fac20aabcc" providerId="LiveId" clId="{85FD8747-7102-41ED-8EE2-FDFF65B33EAB}" dt="2023-05-26T10:00:37.273" v="297" actId="478"/>
          <ac:picMkLst>
            <pc:docMk/>
            <pc:sldMk cId="3746087758" sldId="1600"/>
            <ac:picMk id="9" creationId="{4AA48095-8DBB-195F-BF7A-BB960778609F}"/>
          </ac:picMkLst>
        </pc:picChg>
        <pc:picChg chg="add del">
          <ac:chgData name="Dominik Buchegger" userId="7f2052fac20aabcc" providerId="LiveId" clId="{85FD8747-7102-41ED-8EE2-FDFF65B33EAB}" dt="2023-05-26T10:01:04.234" v="315" actId="478"/>
          <ac:picMkLst>
            <pc:docMk/>
            <pc:sldMk cId="3746087758" sldId="1600"/>
            <ac:picMk id="10" creationId="{45C42B88-62CE-7FAC-70AF-8384714E7A4D}"/>
          </ac:picMkLst>
        </pc:picChg>
        <pc:picChg chg="add del mod">
          <ac:chgData name="Dominik Buchegger" userId="7f2052fac20aabcc" providerId="LiveId" clId="{85FD8747-7102-41ED-8EE2-FDFF65B33EAB}" dt="2023-05-26T10:01:08.709" v="320" actId="1076"/>
          <ac:picMkLst>
            <pc:docMk/>
            <pc:sldMk cId="3746087758" sldId="1600"/>
            <ac:picMk id="11" creationId="{00A3B78E-31AC-D95B-1C39-7F3F08BAB267}"/>
          </ac:picMkLst>
        </pc:picChg>
      </pc:sldChg>
      <pc:sldMasterChg chg="delSldLayout">
        <pc:chgData name="Dominik Buchegger" userId="7f2052fac20aabcc" providerId="LiveId" clId="{85FD8747-7102-41ED-8EE2-FDFF65B33EAB}" dt="2023-05-26T10:01:37.504" v="328" actId="47"/>
        <pc:sldMasterMkLst>
          <pc:docMk/>
          <pc:sldMasterMk cId="4246037650" sldId="2147483660"/>
        </pc:sldMasterMkLst>
        <pc:sldLayoutChg chg="del">
          <pc:chgData name="Dominik Buchegger" userId="7f2052fac20aabcc" providerId="LiveId" clId="{85FD8747-7102-41ED-8EE2-FDFF65B33EAB}" dt="2023-05-26T10:01:37.504" v="328" actId="47"/>
          <pc:sldLayoutMkLst>
            <pc:docMk/>
            <pc:sldMasterMk cId="4246037650" sldId="2147483660"/>
            <pc:sldLayoutMk cId="4249767138" sldId="2147483707"/>
          </pc:sldLayoutMkLst>
        </pc:sldLayoutChg>
      </pc:sldMasterChg>
    </pc:docChg>
  </pc:docChgLst>
  <pc:docChgLst>
    <pc:chgData name="Dominik Buchegger" userId="4419538d-6150-464b-ac11-eb0323261855" providerId="ADAL" clId="{7A5D8453-E421-427C-AB00-6A2A8B341854}"/>
    <pc:docChg chg="undo redo custSel addSld delSld modSld sldOrd">
      <pc:chgData name="Dominik Buchegger" userId="4419538d-6150-464b-ac11-eb0323261855" providerId="ADAL" clId="{7A5D8453-E421-427C-AB00-6A2A8B341854}" dt="2023-05-18T16:29:00.719" v="2210" actId="14100"/>
      <pc:docMkLst>
        <pc:docMk/>
      </pc:docMkLst>
      <pc:sldChg chg="modSp mod">
        <pc:chgData name="Dominik Buchegger" userId="4419538d-6150-464b-ac11-eb0323261855" providerId="ADAL" clId="{7A5D8453-E421-427C-AB00-6A2A8B341854}" dt="2023-05-12T21:03:00.504" v="1245" actId="20577"/>
        <pc:sldMkLst>
          <pc:docMk/>
          <pc:sldMk cId="3772496692" sldId="256"/>
        </pc:sldMkLst>
        <pc:spChg chg="mod">
          <ac:chgData name="Dominik Buchegger" userId="4419538d-6150-464b-ac11-eb0323261855" providerId="ADAL" clId="{7A5D8453-E421-427C-AB00-6A2A8B341854}" dt="2023-05-12T21:03:00.504" v="1245" actId="20577"/>
          <ac:spMkLst>
            <pc:docMk/>
            <pc:sldMk cId="3772496692" sldId="256"/>
            <ac:spMk id="13" creationId="{0C11E479-9B3A-42D2-A07C-80F9E924336D}"/>
          </ac:spMkLst>
        </pc:spChg>
      </pc:sldChg>
      <pc:sldChg chg="addSp delSp modSp add del mod">
        <pc:chgData name="Dominik Buchegger" userId="4419538d-6150-464b-ac11-eb0323261855" providerId="ADAL" clId="{7A5D8453-E421-427C-AB00-6A2A8B341854}" dt="2023-05-11T16:10:55.168" v="75" actId="47"/>
        <pc:sldMkLst>
          <pc:docMk/>
          <pc:sldMk cId="3686135566" sldId="402"/>
        </pc:sldMkLst>
        <pc:spChg chg="add del mod">
          <ac:chgData name="Dominik Buchegger" userId="4419538d-6150-464b-ac11-eb0323261855" providerId="ADAL" clId="{7A5D8453-E421-427C-AB00-6A2A8B341854}" dt="2023-05-11T16:09:28.017" v="10" actId="478"/>
          <ac:spMkLst>
            <pc:docMk/>
            <pc:sldMk cId="3686135566" sldId="402"/>
            <ac:spMk id="3" creationId="{18DA8BEF-0772-34D0-45E6-F76BF67285F8}"/>
          </ac:spMkLst>
        </pc:spChg>
        <pc:spChg chg="add mod">
          <ac:chgData name="Dominik Buchegger" userId="4419538d-6150-464b-ac11-eb0323261855" providerId="ADAL" clId="{7A5D8453-E421-427C-AB00-6A2A8B341854}" dt="2023-05-11T16:10:01.743" v="18" actId="1076"/>
          <ac:spMkLst>
            <pc:docMk/>
            <pc:sldMk cId="3686135566" sldId="402"/>
            <ac:spMk id="5" creationId="{564F9BFA-1A44-A447-E66F-6014793875A4}"/>
          </ac:spMkLst>
        </pc:spChg>
      </pc:sldChg>
      <pc:sldChg chg="addSp delSp modSp add del mod modClrScheme chgLayout">
        <pc:chgData name="Dominik Buchegger" userId="4419538d-6150-464b-ac11-eb0323261855" providerId="ADAL" clId="{7A5D8453-E421-427C-AB00-6A2A8B341854}" dt="2023-05-12T20:32:05.022" v="206" actId="47"/>
        <pc:sldMkLst>
          <pc:docMk/>
          <pc:sldMk cId="1112740418" sldId="403"/>
        </pc:sldMkLst>
        <pc:spChg chg="mod ord">
          <ac:chgData name="Dominik Buchegger" userId="4419538d-6150-464b-ac11-eb0323261855" providerId="ADAL" clId="{7A5D8453-E421-427C-AB00-6A2A8B341854}" dt="2023-05-12T20:31:24.880" v="192" actId="21"/>
          <ac:spMkLst>
            <pc:docMk/>
            <pc:sldMk cId="1112740418" sldId="403"/>
            <ac:spMk id="2" creationId="{A6A00921-825B-4F01-B434-F18EC92753F3}"/>
          </ac:spMkLst>
        </pc:spChg>
        <pc:spChg chg="add del mod ord">
          <ac:chgData name="Dominik Buchegger" userId="4419538d-6150-464b-ac11-eb0323261855" providerId="ADAL" clId="{7A5D8453-E421-427C-AB00-6A2A8B341854}" dt="2023-05-12T20:26:14.742" v="78" actId="700"/>
          <ac:spMkLst>
            <pc:docMk/>
            <pc:sldMk cId="1112740418" sldId="403"/>
            <ac:spMk id="3" creationId="{8B0AF47C-6937-7C36-F327-6902AFA1CE72}"/>
          </ac:spMkLst>
        </pc:spChg>
        <pc:spChg chg="mod ord">
          <ac:chgData name="Dominik Buchegger" userId="4419538d-6150-464b-ac11-eb0323261855" providerId="ADAL" clId="{7A5D8453-E421-427C-AB00-6A2A8B341854}" dt="2023-05-12T20:31:32.522" v="194" actId="21"/>
          <ac:spMkLst>
            <pc:docMk/>
            <pc:sldMk cId="1112740418" sldId="403"/>
            <ac:spMk id="4" creationId="{8878E0CF-4EC3-CBF2-ED44-941726103A6A}"/>
          </ac:spMkLst>
        </pc:spChg>
        <pc:spChg chg="add del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5" creationId="{0670E2BE-C623-1F40-47CD-DBEA7D757FB7}"/>
          </ac:spMkLst>
        </pc:spChg>
        <pc:spChg chg="add mod ord">
          <ac:chgData name="Dominik Buchegger" userId="4419538d-6150-464b-ac11-eb0323261855" providerId="ADAL" clId="{7A5D8453-E421-427C-AB00-6A2A8B341854}" dt="2023-05-12T20:31:43.805" v="200" actId="21"/>
          <ac:spMkLst>
            <pc:docMk/>
            <pc:sldMk cId="1112740418" sldId="403"/>
            <ac:spMk id="6" creationId="{29635AFE-4947-2857-B33A-952D7CA9C4AA}"/>
          </ac:spMkLst>
        </pc:spChg>
        <pc:spChg chg="add del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8" creationId="{511521AC-9330-AD45-F68B-81EAB97AC6C2}"/>
          </ac:spMkLst>
        </pc:spChg>
        <pc:spChg chg="del mod">
          <ac:chgData name="Dominik Buchegger" userId="4419538d-6150-464b-ac11-eb0323261855" providerId="ADAL" clId="{7A5D8453-E421-427C-AB00-6A2A8B341854}" dt="2023-05-12T20:31:52.654" v="203" actId="21"/>
          <ac:spMkLst>
            <pc:docMk/>
            <pc:sldMk cId="1112740418" sldId="403"/>
            <ac:spMk id="9" creationId="{E2D3FEC4-191D-D616-7421-39C43727545C}"/>
          </ac:spMkLst>
        </pc:spChg>
        <pc:spChg chg="add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10" creationId="{38E77BDF-F442-9365-2A37-FA1527A4E90A}"/>
          </ac:spMkLst>
        </pc:spChg>
        <pc:spChg chg="del mod">
          <ac:chgData name="Dominik Buchegger" userId="4419538d-6150-464b-ac11-eb0323261855" providerId="ADAL" clId="{7A5D8453-E421-427C-AB00-6A2A8B341854}" dt="2023-05-12T20:27:04.021" v="82" actId="478"/>
          <ac:spMkLst>
            <pc:docMk/>
            <pc:sldMk cId="1112740418" sldId="403"/>
            <ac:spMk id="11" creationId="{A46CA7E9-6BCD-10E3-8425-E16034661A98}"/>
          </ac:spMkLst>
        </pc:spChg>
        <pc:spChg chg="add mod ord">
          <ac:chgData name="Dominik Buchegger" userId="4419538d-6150-464b-ac11-eb0323261855" providerId="ADAL" clId="{7A5D8453-E421-427C-AB00-6A2A8B341854}" dt="2023-05-12T20:29:20.344" v="178" actId="20577"/>
          <ac:spMkLst>
            <pc:docMk/>
            <pc:sldMk cId="1112740418" sldId="403"/>
            <ac:spMk id="12" creationId="{6FA69D44-E33C-E79F-1FC7-06710690C075}"/>
          </ac:spMkLst>
        </pc:spChg>
        <pc:spChg chg="add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13" creationId="{85113249-2358-544F-4A01-0F4A4228D75A}"/>
          </ac:spMkLst>
        </pc:spChg>
        <pc:spChg chg="add del mod">
          <ac:chgData name="Dominik Buchegger" userId="4419538d-6150-464b-ac11-eb0323261855" providerId="ADAL" clId="{7A5D8453-E421-427C-AB00-6A2A8B341854}" dt="2023-05-12T20:31:00.992" v="186"/>
          <ac:spMkLst>
            <pc:docMk/>
            <pc:sldMk cId="1112740418" sldId="403"/>
            <ac:spMk id="14" creationId="{D98E6F40-B4F3-E93A-4779-72D55AE12902}"/>
          </ac:spMkLst>
        </pc:spChg>
        <pc:picChg chg="del mod">
          <ac:chgData name="Dominik Buchegger" userId="4419538d-6150-464b-ac11-eb0323261855" providerId="ADAL" clId="{7A5D8453-E421-427C-AB00-6A2A8B341854}" dt="2023-05-12T20:31:39.187" v="198" actId="21"/>
          <ac:picMkLst>
            <pc:docMk/>
            <pc:sldMk cId="1112740418" sldId="403"/>
            <ac:picMk id="7" creationId="{BA6ADDE6-7F1B-8681-2F22-7B59127AEFA7}"/>
          </ac:picMkLst>
        </pc:picChg>
      </pc:sldChg>
      <pc:sldChg chg="modSp add del mod">
        <pc:chgData name="Dominik Buchegger" userId="4419538d-6150-464b-ac11-eb0323261855" providerId="ADAL" clId="{7A5D8453-E421-427C-AB00-6A2A8B341854}" dt="2023-05-12T20:52:57.454" v="1069" actId="47"/>
        <pc:sldMkLst>
          <pc:docMk/>
          <pc:sldMk cId="3942011399" sldId="404"/>
        </pc:sldMkLst>
        <pc:spChg chg="mod">
          <ac:chgData name="Dominik Buchegger" userId="4419538d-6150-464b-ac11-eb0323261855" providerId="ADAL" clId="{7A5D8453-E421-427C-AB00-6A2A8B341854}" dt="2023-05-12T20:52:50.082" v="1064" actId="21"/>
          <ac:spMkLst>
            <pc:docMk/>
            <pc:sldMk cId="3942011399" sldId="404"/>
            <ac:spMk id="3" creationId="{FD110B99-AF49-AF23-5206-B0A78426C187}"/>
          </ac:spMkLst>
        </pc:spChg>
      </pc:sldChg>
      <pc:sldChg chg="addSp delSp modSp add del mod modClrScheme chgLayout">
        <pc:chgData name="Dominik Buchegger" userId="4419538d-6150-464b-ac11-eb0323261855" providerId="ADAL" clId="{7A5D8453-E421-427C-AB00-6A2A8B341854}" dt="2023-05-12T20:45:22.128" v="527" actId="47"/>
        <pc:sldMkLst>
          <pc:docMk/>
          <pc:sldMk cId="4185402392" sldId="405"/>
        </pc:sldMkLst>
        <pc:spChg chg="mod ord">
          <ac:chgData name="Dominik Buchegger" userId="4419538d-6150-464b-ac11-eb0323261855" providerId="ADAL" clId="{7A5D8453-E421-427C-AB00-6A2A8B341854}" dt="2023-05-12T20:32:37.622" v="212" actId="21"/>
          <ac:spMkLst>
            <pc:docMk/>
            <pc:sldMk cId="4185402392" sldId="405"/>
            <ac:spMk id="2" creationId="{AA44CC23-93C2-969D-52AE-42A92D4BCF7A}"/>
          </ac:spMkLst>
        </pc:spChg>
        <pc:spChg chg="mod ord">
          <ac:chgData name="Dominik Buchegger" userId="4419538d-6150-464b-ac11-eb0323261855" providerId="ADAL" clId="{7A5D8453-E421-427C-AB00-6A2A8B341854}" dt="2023-05-12T20:34:36.999" v="249" actId="21"/>
          <ac:spMkLst>
            <pc:docMk/>
            <pc:sldMk cId="4185402392" sldId="405"/>
            <ac:spMk id="3" creationId="{FD110B99-AF49-AF23-5206-B0A78426C187}"/>
          </ac:spMkLst>
        </pc:spChg>
        <pc:spChg chg="add mod ord">
          <ac:chgData name="Dominik Buchegger" userId="4419538d-6150-464b-ac11-eb0323261855" providerId="ADAL" clId="{7A5D8453-E421-427C-AB00-6A2A8B341854}" dt="2023-05-12T20:30:43.427" v="183" actId="700"/>
          <ac:spMkLst>
            <pc:docMk/>
            <pc:sldMk cId="4185402392" sldId="405"/>
            <ac:spMk id="4" creationId="{4F0ACCB4-C03B-363A-0718-B990A5C46F34}"/>
          </ac:spMkLst>
        </pc:spChg>
        <pc:spChg chg="del">
          <ac:chgData name="Dominik Buchegger" userId="4419538d-6150-464b-ac11-eb0323261855" providerId="ADAL" clId="{7A5D8453-E421-427C-AB00-6A2A8B341854}" dt="2023-05-12T20:33:33.166" v="223" actId="21"/>
          <ac:spMkLst>
            <pc:docMk/>
            <pc:sldMk cId="4185402392" sldId="405"/>
            <ac:spMk id="12" creationId="{1B113A8D-7393-B9B8-31B9-61184B4873E3}"/>
          </ac:spMkLst>
        </pc:spChg>
        <pc:spChg chg="del mod">
          <ac:chgData name="Dominik Buchegger" userId="4419538d-6150-464b-ac11-eb0323261855" providerId="ADAL" clId="{7A5D8453-E421-427C-AB00-6A2A8B341854}" dt="2023-05-12T20:35:29.049" v="260"/>
          <ac:spMkLst>
            <pc:docMk/>
            <pc:sldMk cId="4185402392" sldId="405"/>
            <ac:spMk id="13" creationId="{108F6ED8-AA6C-F2B4-CDB3-809A08C323A0}"/>
          </ac:spMkLst>
        </pc:spChg>
        <pc:spChg chg="del mod">
          <ac:chgData name="Dominik Buchegger" userId="4419538d-6150-464b-ac11-eb0323261855" providerId="ADAL" clId="{7A5D8453-E421-427C-AB00-6A2A8B341854}" dt="2023-05-12T20:38:06.122" v="301"/>
          <ac:spMkLst>
            <pc:docMk/>
            <pc:sldMk cId="4185402392" sldId="405"/>
            <ac:spMk id="15" creationId="{81AC21B4-599D-C979-93C6-EE247EB45B6E}"/>
          </ac:spMkLst>
        </pc:spChg>
        <pc:picChg chg="del mod">
          <ac:chgData name="Dominik Buchegger" userId="4419538d-6150-464b-ac11-eb0323261855" providerId="ADAL" clId="{7A5D8453-E421-427C-AB00-6A2A8B341854}" dt="2023-05-12T20:32:44.325" v="215" actId="21"/>
          <ac:picMkLst>
            <pc:docMk/>
            <pc:sldMk cId="4185402392" sldId="405"/>
            <ac:picMk id="8" creationId="{32B2BFCA-975D-0E6A-FE03-AA8A1FC30229}"/>
          </ac:picMkLst>
        </pc:picChg>
      </pc:sldChg>
      <pc:sldChg chg="modSp add del mod ord">
        <pc:chgData name="Dominik Buchegger" userId="4419538d-6150-464b-ac11-eb0323261855" providerId="ADAL" clId="{7A5D8453-E421-427C-AB00-6A2A8B341854}" dt="2023-05-12T20:52:45.982" v="1063" actId="47"/>
        <pc:sldMkLst>
          <pc:docMk/>
          <pc:sldMk cId="3914310551" sldId="406"/>
        </pc:sldMkLst>
        <pc:spChg chg="mod">
          <ac:chgData name="Dominik Buchegger" userId="4419538d-6150-464b-ac11-eb0323261855" providerId="ADAL" clId="{7A5D8453-E421-427C-AB00-6A2A8B341854}" dt="2023-05-12T20:45:56.689" v="534" actId="21"/>
          <ac:spMkLst>
            <pc:docMk/>
            <pc:sldMk cId="3914310551" sldId="406"/>
            <ac:spMk id="3" creationId="{FD110B99-AF49-AF23-5206-B0A78426C187}"/>
          </ac:spMkLst>
        </pc:spChg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4128348825" sldId="407"/>
        </pc:sldMkLst>
      </pc:sldChg>
      <pc:sldChg chg="addSp delSp modSp add mod ord modClrScheme modShow chgLayout">
        <pc:chgData name="Dominik Buchegger" userId="4419538d-6150-464b-ac11-eb0323261855" providerId="ADAL" clId="{7A5D8453-E421-427C-AB00-6A2A8B341854}" dt="2023-05-18T16:16:54.287" v="1987" actId="1076"/>
        <pc:sldMkLst>
          <pc:docMk/>
          <pc:sldMk cId="1941786393" sldId="408"/>
        </pc:sldMkLst>
        <pc:spChg chg="mod ord">
          <ac:chgData name="Dominik Buchegger" userId="4419538d-6150-464b-ac11-eb0323261855" providerId="ADAL" clId="{7A5D8453-E421-427C-AB00-6A2A8B341854}" dt="2023-05-18T16:11:13.263" v="1909" actId="20577"/>
          <ac:spMkLst>
            <pc:docMk/>
            <pc:sldMk cId="1941786393" sldId="408"/>
            <ac:spMk id="2" creationId="{AA44CC23-93C2-969D-52AE-42A92D4BCF7A}"/>
          </ac:spMkLst>
        </pc:spChg>
        <pc:spChg chg="add mod ord">
          <ac:chgData name="Dominik Buchegger" userId="4419538d-6150-464b-ac11-eb0323261855" providerId="ADAL" clId="{7A5D8453-E421-427C-AB00-6A2A8B341854}" dt="2023-05-18T16:02:00.531" v="1524" actId="700"/>
          <ac:spMkLst>
            <pc:docMk/>
            <pc:sldMk cId="1941786393" sldId="408"/>
            <ac:spMk id="3" creationId="{F81032F9-BBBF-F2A3-17B1-8F5DF72A5230}"/>
          </ac:spMkLst>
        </pc:spChg>
        <pc:spChg chg="del mod ord">
          <ac:chgData name="Dominik Buchegger" userId="4419538d-6150-464b-ac11-eb0323261855" providerId="ADAL" clId="{7A5D8453-E421-427C-AB00-6A2A8B341854}" dt="2023-05-18T16:02:00.531" v="1524" actId="700"/>
          <ac:spMkLst>
            <pc:docMk/>
            <pc:sldMk cId="1941786393" sldId="408"/>
            <ac:spMk id="5" creationId="{8A2F830B-F82B-3F3F-08EB-36F003542F0C}"/>
          </ac:spMkLst>
        </pc:spChg>
        <pc:spChg chg="add del mod">
          <ac:chgData name="Dominik Buchegger" userId="4419538d-6150-464b-ac11-eb0323261855" providerId="ADAL" clId="{7A5D8453-E421-427C-AB00-6A2A8B341854}" dt="2023-05-18T16:10:16.979" v="1854" actId="478"/>
          <ac:spMkLst>
            <pc:docMk/>
            <pc:sldMk cId="1941786393" sldId="408"/>
            <ac:spMk id="7" creationId="{A19B1494-4942-B992-03C3-9068C885E925}"/>
          </ac:spMkLst>
        </pc:spChg>
        <pc:spChg chg="del mod">
          <ac:chgData name="Dominik Buchegger" userId="4419538d-6150-464b-ac11-eb0323261855" providerId="ADAL" clId="{7A5D8453-E421-427C-AB00-6A2A8B341854}" dt="2023-05-18T16:04:08.904" v="1572" actId="478"/>
          <ac:spMkLst>
            <pc:docMk/>
            <pc:sldMk cId="1941786393" sldId="408"/>
            <ac:spMk id="10" creationId="{4AFD6C6C-F40C-A2FC-E862-60707B0113E0}"/>
          </ac:spMkLst>
        </pc:spChg>
        <pc:spChg chg="add del mod">
          <ac:chgData name="Dominik Buchegger" userId="4419538d-6150-464b-ac11-eb0323261855" providerId="ADAL" clId="{7A5D8453-E421-427C-AB00-6A2A8B341854}" dt="2023-05-18T16:10:19" v="1855" actId="478"/>
          <ac:spMkLst>
            <pc:docMk/>
            <pc:sldMk cId="1941786393" sldId="408"/>
            <ac:spMk id="11" creationId="{9A545D68-3236-0258-39E0-F2E59F8027C1}"/>
          </ac:spMkLst>
        </pc:spChg>
        <pc:spChg chg="del">
          <ac:chgData name="Dominik Buchegger" userId="4419538d-6150-464b-ac11-eb0323261855" providerId="ADAL" clId="{7A5D8453-E421-427C-AB00-6A2A8B341854}" dt="2023-05-18T16:05:07.626" v="1626" actId="478"/>
          <ac:spMkLst>
            <pc:docMk/>
            <pc:sldMk cId="1941786393" sldId="408"/>
            <ac:spMk id="12" creationId="{A1F39006-72E8-D4C4-8222-2198497973CF}"/>
          </ac:spMkLst>
        </pc:spChg>
        <pc:spChg chg="del">
          <ac:chgData name="Dominik Buchegger" userId="4419538d-6150-464b-ac11-eb0323261855" providerId="ADAL" clId="{7A5D8453-E421-427C-AB00-6A2A8B341854}" dt="2023-05-18T16:04:03.489" v="1570" actId="478"/>
          <ac:spMkLst>
            <pc:docMk/>
            <pc:sldMk cId="1941786393" sldId="408"/>
            <ac:spMk id="14" creationId="{103D0CAB-EE00-6D63-F312-F3AEF314E2DD}"/>
          </ac:spMkLst>
        </pc:spChg>
        <pc:spChg chg="add del mod">
          <ac:chgData name="Dominik Buchegger" userId="4419538d-6150-464b-ac11-eb0323261855" providerId="ADAL" clId="{7A5D8453-E421-427C-AB00-6A2A8B341854}" dt="2023-05-18T16:10:21.334" v="1856" actId="478"/>
          <ac:spMkLst>
            <pc:docMk/>
            <pc:sldMk cId="1941786393" sldId="408"/>
            <ac:spMk id="15" creationId="{F972CCA4-B13B-9C70-1448-5D41E53A27B7}"/>
          </ac:spMkLst>
        </pc:spChg>
        <pc:spChg chg="del mod">
          <ac:chgData name="Dominik Buchegger" userId="4419538d-6150-464b-ac11-eb0323261855" providerId="ADAL" clId="{7A5D8453-E421-427C-AB00-6A2A8B341854}" dt="2023-05-18T16:03:59.706" v="1569" actId="478"/>
          <ac:spMkLst>
            <pc:docMk/>
            <pc:sldMk cId="1941786393" sldId="408"/>
            <ac:spMk id="16" creationId="{D7D4AB6F-7091-0BDB-2BBE-5827A6A0851A}"/>
          </ac:spMkLst>
        </pc:spChg>
        <pc:spChg chg="add mod">
          <ac:chgData name="Dominik Buchegger" userId="4419538d-6150-464b-ac11-eb0323261855" providerId="ADAL" clId="{7A5D8453-E421-427C-AB00-6A2A8B341854}" dt="2023-05-18T16:05:23.460" v="1633"/>
          <ac:spMkLst>
            <pc:docMk/>
            <pc:sldMk cId="1941786393" sldId="408"/>
            <ac:spMk id="17" creationId="{F3623346-F20A-1C6B-8B23-84C4741618F4}"/>
          </ac:spMkLst>
        </pc:spChg>
        <pc:spChg chg="add del mod">
          <ac:chgData name="Dominik Buchegger" userId="4419538d-6150-464b-ac11-eb0323261855" providerId="ADAL" clId="{7A5D8453-E421-427C-AB00-6A2A8B341854}" dt="2023-05-18T16:10:46.574" v="1862"/>
          <ac:spMkLst>
            <pc:docMk/>
            <pc:sldMk cId="1941786393" sldId="408"/>
            <ac:spMk id="18" creationId="{023ECD2B-CDC4-0F5C-9FB7-584DF952FA35}"/>
          </ac:spMkLst>
        </pc:spChg>
        <pc:picChg chg="add del mod">
          <ac:chgData name="Dominik Buchegger" userId="4419538d-6150-464b-ac11-eb0323261855" providerId="ADAL" clId="{7A5D8453-E421-427C-AB00-6A2A8B341854}" dt="2023-05-18T16:10:13.334" v="1853" actId="478"/>
          <ac:picMkLst>
            <pc:docMk/>
            <pc:sldMk cId="1941786393" sldId="408"/>
            <ac:picMk id="4" creationId="{E7A55A6A-2ECC-C9E4-754E-47BA8B6D0ACD}"/>
          </ac:picMkLst>
        </pc:picChg>
        <pc:picChg chg="del">
          <ac:chgData name="Dominik Buchegger" userId="4419538d-6150-464b-ac11-eb0323261855" providerId="ADAL" clId="{7A5D8453-E421-427C-AB00-6A2A8B341854}" dt="2023-05-18T16:10:22.483" v="1857" actId="478"/>
          <ac:picMkLst>
            <pc:docMk/>
            <pc:sldMk cId="1941786393" sldId="408"/>
            <ac:picMk id="8" creationId="{E1E0FFC7-F140-1076-9259-82414B8BD747}"/>
          </ac:picMkLst>
        </pc:picChg>
        <pc:picChg chg="add mod modCrop">
          <ac:chgData name="Dominik Buchegger" userId="4419538d-6150-464b-ac11-eb0323261855" providerId="ADAL" clId="{7A5D8453-E421-427C-AB00-6A2A8B341854}" dt="2023-05-18T16:16:54.287" v="1987" actId="1076"/>
          <ac:picMkLst>
            <pc:docMk/>
            <pc:sldMk cId="1941786393" sldId="408"/>
            <ac:picMk id="19" creationId="{B00056B4-67BA-4BD3-CD00-BA6F9F80EA7F}"/>
          </ac:picMkLst>
        </pc:picChg>
      </pc:sldChg>
      <pc:sldChg chg="addSp delSp add del mod ord modShow">
        <pc:chgData name="Dominik Buchegger" userId="4419538d-6150-464b-ac11-eb0323261855" providerId="ADAL" clId="{7A5D8453-E421-427C-AB00-6A2A8B341854}" dt="2023-05-18T16:10:55.437" v="1865" actId="47"/>
        <pc:sldMkLst>
          <pc:docMk/>
          <pc:sldMk cId="3766164343" sldId="409"/>
        </pc:sldMkLst>
        <pc:picChg chg="add del">
          <ac:chgData name="Dominik Buchegger" userId="4419538d-6150-464b-ac11-eb0323261855" providerId="ADAL" clId="{7A5D8453-E421-427C-AB00-6A2A8B341854}" dt="2023-05-18T16:10:47.177" v="1863" actId="478"/>
          <ac:picMkLst>
            <pc:docMk/>
            <pc:sldMk cId="3766164343" sldId="409"/>
            <ac:picMk id="6" creationId="{637B6B03-652B-DC4F-62A6-F6D7FC697232}"/>
          </ac:picMkLst>
        </pc:picChg>
      </pc:sldChg>
      <pc:sldChg chg="delSp add del mod ord modShow">
        <pc:chgData name="Dominik Buchegger" userId="4419538d-6150-464b-ac11-eb0323261855" providerId="ADAL" clId="{7A5D8453-E421-427C-AB00-6A2A8B341854}" dt="2023-05-18T16:07:20.216" v="1722" actId="47"/>
        <pc:sldMkLst>
          <pc:docMk/>
          <pc:sldMk cId="2884668348" sldId="410"/>
        </pc:sldMkLst>
        <pc:spChg chg="del">
          <ac:chgData name="Dominik Buchegger" userId="4419538d-6150-464b-ac11-eb0323261855" providerId="ADAL" clId="{7A5D8453-E421-427C-AB00-6A2A8B341854}" dt="2023-05-18T16:07:11.777" v="1719" actId="21"/>
          <ac:spMkLst>
            <pc:docMk/>
            <pc:sldMk cId="2884668348" sldId="410"/>
            <ac:spMk id="8" creationId="{B6BD9397-45F7-BB40-63A1-1DA5CCE4F0AA}"/>
          </ac:spMkLst>
        </pc:spChg>
        <pc:picChg chg="del">
          <ac:chgData name="Dominik Buchegger" userId="4419538d-6150-464b-ac11-eb0323261855" providerId="ADAL" clId="{7A5D8453-E421-427C-AB00-6A2A8B341854}" dt="2023-05-18T16:07:00.111" v="1715" actId="21"/>
          <ac:picMkLst>
            <pc:docMk/>
            <pc:sldMk cId="2884668348" sldId="410"/>
            <ac:picMk id="4" creationId="{32E636BF-B337-6CC8-A142-2F61EA4EA019}"/>
          </ac:picMkLst>
        </pc:picChg>
      </pc:sldChg>
      <pc:sldChg chg="addSp delSp modSp add del mod ord modShow">
        <pc:chgData name="Dominik Buchegger" userId="4419538d-6150-464b-ac11-eb0323261855" providerId="ADAL" clId="{7A5D8453-E421-427C-AB00-6A2A8B341854}" dt="2023-05-18T16:15:31.406" v="1950" actId="47"/>
        <pc:sldMkLst>
          <pc:docMk/>
          <pc:sldMk cId="4065149498" sldId="411"/>
        </pc:sldMkLst>
        <pc:spChg chg="mod">
          <ac:chgData name="Dominik Buchegger" userId="4419538d-6150-464b-ac11-eb0323261855" providerId="ADAL" clId="{7A5D8453-E421-427C-AB00-6A2A8B341854}" dt="2023-05-18T16:06:40.016" v="1691" actId="20577"/>
          <ac:spMkLst>
            <pc:docMk/>
            <pc:sldMk cId="4065149498" sldId="411"/>
            <ac:spMk id="2" creationId="{AA44CC23-93C2-969D-52AE-42A92D4BCF7A}"/>
          </ac:spMkLst>
        </pc:spChg>
        <pc:spChg chg="add mod">
          <ac:chgData name="Dominik Buchegger" userId="4419538d-6150-464b-ac11-eb0323261855" providerId="ADAL" clId="{7A5D8453-E421-427C-AB00-6A2A8B341854}" dt="2023-05-18T16:06:20.051" v="1649"/>
          <ac:spMkLst>
            <pc:docMk/>
            <pc:sldMk cId="4065149498" sldId="411"/>
            <ac:spMk id="3" creationId="{273CA3D6-9358-ADC0-6AAF-0D3EAE11E175}"/>
          </ac:spMkLst>
        </pc:spChg>
        <pc:spChg chg="del">
          <ac:chgData name="Dominik Buchegger" userId="4419538d-6150-464b-ac11-eb0323261855" providerId="ADAL" clId="{7A5D8453-E421-427C-AB00-6A2A8B341854}" dt="2023-05-18T16:06:11.371" v="1647" actId="478"/>
          <ac:spMkLst>
            <pc:docMk/>
            <pc:sldMk cId="4065149498" sldId="411"/>
            <ac:spMk id="7" creationId="{9675CF34-1230-7C58-FDE8-FE7454CF1AC0}"/>
          </ac:spMkLst>
        </pc:spChg>
        <pc:picChg chg="mod">
          <ac:chgData name="Dominik Buchegger" userId="4419538d-6150-464b-ac11-eb0323261855" providerId="ADAL" clId="{7A5D8453-E421-427C-AB00-6A2A8B341854}" dt="2023-05-18T16:06:14.613" v="1648" actId="1076"/>
          <ac:picMkLst>
            <pc:docMk/>
            <pc:sldMk cId="4065149498" sldId="411"/>
            <ac:picMk id="6" creationId="{826D9988-B64A-83B4-583F-5F3D249A88F7}"/>
          </ac:picMkLst>
        </pc:picChg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134760861" sldId="412"/>
        </pc:sldMkLst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732642395" sldId="413"/>
        </pc:sldMkLst>
      </pc:sldChg>
      <pc:sldChg chg="add del mod ord modShow">
        <pc:chgData name="Dominik Buchegger" userId="4419538d-6150-464b-ac11-eb0323261855" providerId="ADAL" clId="{7A5D8453-E421-427C-AB00-6A2A8B341854}" dt="2023-05-18T16:17:33.498" v="1991" actId="47"/>
        <pc:sldMkLst>
          <pc:docMk/>
          <pc:sldMk cId="1975690118" sldId="414"/>
        </pc:sldMkLst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3101854392" sldId="415"/>
        </pc:sldMkLst>
      </pc:sldChg>
      <pc:sldChg chg="modSp mod">
        <pc:chgData name="Dominik Buchegger" userId="4419538d-6150-464b-ac11-eb0323261855" providerId="ADAL" clId="{7A5D8453-E421-427C-AB00-6A2A8B341854}" dt="2023-05-12T21:03:10.323" v="1249" actId="404"/>
        <pc:sldMkLst>
          <pc:docMk/>
          <pc:sldMk cId="2946332310" sldId="1460"/>
        </pc:sldMkLst>
        <pc:spChg chg="mod">
          <ac:chgData name="Dominik Buchegger" userId="4419538d-6150-464b-ac11-eb0323261855" providerId="ADAL" clId="{7A5D8453-E421-427C-AB00-6A2A8B341854}" dt="2023-05-12T21:03:10.323" v="1249" actId="404"/>
          <ac:spMkLst>
            <pc:docMk/>
            <pc:sldMk cId="2946332310" sldId="1460"/>
            <ac:spMk id="2" creationId="{38C104DD-55A5-D5D7-68B1-A81097757DA7}"/>
          </ac:spMkLst>
        </pc:spChg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3241705055" sldId="1537"/>
        </pc:sldMkLst>
      </pc:sldChg>
      <pc:sldChg chg="del ord">
        <pc:chgData name="Dominik Buchegger" userId="4419538d-6150-464b-ac11-eb0323261855" providerId="ADAL" clId="{7A5D8453-E421-427C-AB00-6A2A8B341854}" dt="2023-05-12T21:01:44.713" v="1232" actId="47"/>
        <pc:sldMkLst>
          <pc:docMk/>
          <pc:sldMk cId="3555160724" sldId="1551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1200067128" sldId="1588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3691471691" sldId="1589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4083298857" sldId="1590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654984513" sldId="1591"/>
        </pc:sldMkLst>
      </pc:sldChg>
      <pc:sldChg chg="modSp add mod ord">
        <pc:chgData name="Dominik Buchegger" userId="4419538d-6150-464b-ac11-eb0323261855" providerId="ADAL" clId="{7A5D8453-E421-427C-AB00-6A2A8B341854}" dt="2023-05-12T21:01:33.835" v="1231" actId="20577"/>
        <pc:sldMkLst>
          <pc:docMk/>
          <pc:sldMk cId="4075358184" sldId="1592"/>
        </pc:sldMkLst>
        <pc:spChg chg="mod">
          <ac:chgData name="Dominik Buchegger" userId="4419538d-6150-464b-ac11-eb0323261855" providerId="ADAL" clId="{7A5D8453-E421-427C-AB00-6A2A8B341854}" dt="2023-05-12T21:01:33.835" v="1231" actId="20577"/>
          <ac:spMkLst>
            <pc:docMk/>
            <pc:sldMk cId="4075358184" sldId="1592"/>
            <ac:spMk id="2" creationId="{A92E3E48-FF8A-5E4C-67CC-8B0608A09C2C}"/>
          </ac:spMkLst>
        </pc:spChg>
      </pc:sldChg>
      <pc:sldChg chg="addSp delSp modSp add mod ord modClrScheme chgLayout">
        <pc:chgData name="Dominik Buchegger" userId="4419538d-6150-464b-ac11-eb0323261855" providerId="ADAL" clId="{7A5D8453-E421-427C-AB00-6A2A8B341854}" dt="2023-05-18T15:50:59.720" v="1276" actId="113"/>
        <pc:sldMkLst>
          <pc:docMk/>
          <pc:sldMk cId="2700026834" sldId="1593"/>
        </pc:sldMkLst>
        <pc:spChg chg="del">
          <ac:chgData name="Dominik Buchegger" userId="4419538d-6150-464b-ac11-eb0323261855" providerId="ADAL" clId="{7A5D8453-E421-427C-AB00-6A2A8B341854}" dt="2023-05-11T16:10:26.911" v="67" actId="478"/>
          <ac:spMkLst>
            <pc:docMk/>
            <pc:sldMk cId="2700026834" sldId="1593"/>
            <ac:spMk id="2" creationId="{DF770251-C66F-37B2-FA29-31FE5C038085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4" creationId="{B9ADA6DF-7210-51C0-FF3B-4ADB643A42C6}"/>
          </ac:spMkLst>
        </pc:spChg>
        <pc:spChg chg="add mod ord">
          <ac:chgData name="Dominik Buchegger" userId="4419538d-6150-464b-ac11-eb0323261855" providerId="ADAL" clId="{7A5D8453-E421-427C-AB00-6A2A8B341854}" dt="2023-05-18T15:50:59.720" v="1276" actId="113"/>
          <ac:spMkLst>
            <pc:docMk/>
            <pc:sldMk cId="2700026834" sldId="1593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7" creationId="{F666E8F7-8B25-B437-131E-F8882B62E16E}"/>
          </ac:spMkLst>
        </pc:spChg>
      </pc:sldChg>
      <pc:sldChg chg="addSp delSp modSp add mod modClrScheme chgLayout">
        <pc:chgData name="Dominik Buchegger" userId="4419538d-6150-464b-ac11-eb0323261855" providerId="ADAL" clId="{7A5D8453-E421-427C-AB00-6A2A8B341854}" dt="2023-05-18T15:54:58.116" v="1397" actId="20577"/>
        <pc:sldMkLst>
          <pc:docMk/>
          <pc:sldMk cId="1141813345" sldId="1594"/>
        </pc:sldMkLst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2" creationId="{008B0052-707D-7637-3939-54FE796812DD}"/>
          </ac:spMkLst>
        </pc:spChg>
        <pc:spChg chg="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4" creationId="{B9ADA6DF-7210-51C0-FF3B-4ADB643A42C6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5" creationId="{38E673CD-3123-A1FE-9EAD-0E16703FD2FE}"/>
          </ac:spMkLst>
        </pc:spChg>
        <pc:spChg chg="add del mod">
          <ac:chgData name="Dominik Buchegger" userId="4419538d-6150-464b-ac11-eb0323261855" providerId="ADAL" clId="{7A5D8453-E421-427C-AB00-6A2A8B341854}" dt="2023-05-18T15:51:59.618" v="1328" actId="21"/>
          <ac:spMkLst>
            <pc:docMk/>
            <pc:sldMk cId="1141813345" sldId="1594"/>
            <ac:spMk id="5" creationId="{44D925B8-51D3-D904-866D-9AA1530D4CBB}"/>
          </ac:spMkLst>
        </pc:spChg>
        <pc:spChg chg="add del mod ord">
          <ac:chgData name="Dominik Buchegger" userId="4419538d-6150-464b-ac11-eb0323261855" providerId="ADAL" clId="{7A5D8453-E421-427C-AB00-6A2A8B341854}" dt="2023-05-18T15:53:29.120" v="1342" actId="20577"/>
          <ac:spMkLst>
            <pc:docMk/>
            <pc:sldMk cId="1141813345" sldId="1594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31:27.773" v="193"/>
          <ac:spMkLst>
            <pc:docMk/>
            <pc:sldMk cId="1141813345" sldId="1594"/>
            <ac:spMk id="7" creationId="{F666E8F7-8B25-B437-131E-F8882B62E16E}"/>
          </ac:spMkLst>
        </pc:spChg>
        <pc:spChg chg="add del mod">
          <ac:chgData name="Dominik Buchegger" userId="4419538d-6150-464b-ac11-eb0323261855" providerId="ADAL" clId="{7A5D8453-E421-427C-AB00-6A2A8B341854}" dt="2023-05-18T15:51:58.390" v="1327"/>
          <ac:spMkLst>
            <pc:docMk/>
            <pc:sldMk cId="1141813345" sldId="1594"/>
            <ac:spMk id="8" creationId="{A46C5E33-526C-1052-3DE1-911906E102EE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8" creationId="{E1D4E4AD-6A2A-75F9-2F7D-D88DCF083421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9" creationId="{8DF87D08-32B1-BCEB-F5ED-EEF53993B266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0" creationId="{AC27A936-05E8-50A9-F824-4B99A5BE5EE3}"/>
          </ac:spMkLst>
        </pc:spChg>
        <pc:spChg chg="add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1" creationId="{0DB6D069-1D77-4C88-C189-E8FE5763452A}"/>
          </ac:spMkLst>
        </pc:spChg>
        <pc:spChg chg="add mod ord">
          <ac:chgData name="Dominik Buchegger" userId="4419538d-6150-464b-ac11-eb0323261855" providerId="ADAL" clId="{7A5D8453-E421-427C-AB00-6A2A8B341854}" dt="2023-05-18T15:54:58.116" v="1397" actId="20577"/>
          <ac:spMkLst>
            <pc:docMk/>
            <pc:sldMk cId="1141813345" sldId="1594"/>
            <ac:spMk id="12" creationId="{C513F207-F800-C008-7AFD-F9449CE02BE1}"/>
          </ac:spMkLst>
        </pc:spChg>
        <pc:spChg chg="add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3" creationId="{860FC74D-4005-AB9D-7019-6C785BABBE18}"/>
          </ac:spMkLst>
        </pc:spChg>
        <pc:spChg chg="add mod">
          <ac:chgData name="Dominik Buchegger" userId="4419538d-6150-464b-ac11-eb0323261855" providerId="ADAL" clId="{7A5D8453-E421-427C-AB00-6A2A8B341854}" dt="2023-05-12T20:33:47.266" v="225" actId="14100"/>
          <ac:spMkLst>
            <pc:docMk/>
            <pc:sldMk cId="1141813345" sldId="1594"/>
            <ac:spMk id="15" creationId="{A8F3C679-7F89-6D07-35A8-C79D9736BDFC}"/>
          </ac:spMkLst>
        </pc:spChg>
        <pc:picChg chg="add mod modCrop">
          <ac:chgData name="Dominik Buchegger" userId="4419538d-6150-464b-ac11-eb0323261855" providerId="ADAL" clId="{7A5D8453-E421-427C-AB00-6A2A8B341854}" dt="2023-05-18T15:53:24.337" v="1338" actId="732"/>
          <ac:picMkLst>
            <pc:docMk/>
            <pc:sldMk cId="1141813345" sldId="1594"/>
            <ac:picMk id="14" creationId="{3781DCDF-839C-300D-0718-EA95A22A3E6E}"/>
          </ac:picMkLst>
        </pc:picChg>
      </pc:sldChg>
      <pc:sldChg chg="addSp delSp modSp add mod modClrScheme chgLayout">
        <pc:chgData name="Dominik Buchegger" userId="4419538d-6150-464b-ac11-eb0323261855" providerId="ADAL" clId="{7A5D8453-E421-427C-AB00-6A2A8B341854}" dt="2023-05-18T15:59:02.502" v="1518" actId="20577"/>
        <pc:sldMkLst>
          <pc:docMk/>
          <pc:sldMk cId="3936300900" sldId="1595"/>
        </pc:sldMkLst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4" creationId="{B9ADA6DF-7210-51C0-FF3B-4ADB643A42C6}"/>
          </ac:spMkLst>
        </pc:spChg>
        <pc:spChg chg="add mod ord">
          <ac:chgData name="Dominik Buchegger" userId="4419538d-6150-464b-ac11-eb0323261855" providerId="ADAL" clId="{7A5D8453-E421-427C-AB00-6A2A8B341854}" dt="2023-05-12T20:45:00.477" v="524" actId="6549"/>
          <ac:spMkLst>
            <pc:docMk/>
            <pc:sldMk cId="3936300900" sldId="1595"/>
            <ac:spMk id="5" creationId="{32429783-15C9-9A75-A60B-85FC9A9AFBB2}"/>
          </ac:spMkLst>
        </pc:spChg>
        <pc:spChg chg="del mod or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7" creationId="{F666E8F7-8B25-B437-131E-F8882B62E16E}"/>
          </ac:spMkLst>
        </pc:spChg>
        <pc:spChg chg="add del mod ord">
          <ac:chgData name="Dominik Buchegger" userId="4419538d-6150-464b-ac11-eb0323261855" providerId="ADAL" clId="{7A5D8453-E421-427C-AB00-6A2A8B341854}" dt="2023-05-12T20:38:12.238" v="302" actId="700"/>
          <ac:spMkLst>
            <pc:docMk/>
            <pc:sldMk cId="3936300900" sldId="1595"/>
            <ac:spMk id="8" creationId="{53EDAA6B-39F9-ED05-3D23-D2647155408B}"/>
          </ac:spMkLst>
        </pc:spChg>
        <pc:spChg chg="add mod">
          <ac:chgData name="Dominik Buchegger" userId="4419538d-6150-464b-ac11-eb0323261855" providerId="ADAL" clId="{7A5D8453-E421-427C-AB00-6A2A8B341854}" dt="2023-05-12T20:39:25.365" v="316" actId="1076"/>
          <ac:spMkLst>
            <pc:docMk/>
            <pc:sldMk cId="3936300900" sldId="1595"/>
            <ac:spMk id="9" creationId="{9CBC0E5A-E671-FB6E-AF04-BC13B1D17C1E}"/>
          </ac:spMkLst>
        </pc:spChg>
        <pc:spChg chg="add mod ord">
          <ac:chgData name="Dominik Buchegger" userId="4419538d-6150-464b-ac11-eb0323261855" providerId="ADAL" clId="{7A5D8453-E421-427C-AB00-6A2A8B341854}" dt="2023-05-18T15:59:02.502" v="1518" actId="20577"/>
          <ac:spMkLst>
            <pc:docMk/>
            <pc:sldMk cId="3936300900" sldId="1595"/>
            <ac:spMk id="10" creationId="{B85A0B36-9456-E980-13A3-C81C3A141A4D}"/>
          </ac:spMkLst>
        </pc:spChg>
        <pc:spChg chg="del mod or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1" creationId="{0DB6D069-1D77-4C88-C189-E8FE5763452A}"/>
          </ac:spMkLst>
        </pc:spChg>
        <pc:spChg chg="del mo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2" creationId="{C513F207-F800-C008-7AFD-F9449CE02BE1}"/>
          </ac:spMkLst>
        </pc:spChg>
        <pc:spChg chg="del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3" creationId="{860FC74D-4005-AB9D-7019-6C785BABBE18}"/>
          </ac:spMkLst>
        </pc:spChg>
        <pc:spChg chg="del">
          <ac:chgData name="Dominik Buchegger" userId="4419538d-6150-464b-ac11-eb0323261855" providerId="ADAL" clId="{7A5D8453-E421-427C-AB00-6A2A8B341854}" dt="2023-05-12T20:32:32.442" v="211" actId="478"/>
          <ac:spMkLst>
            <pc:docMk/>
            <pc:sldMk cId="3936300900" sldId="1595"/>
            <ac:spMk id="15" creationId="{A8F3C679-7F89-6D07-35A8-C79D9736BDFC}"/>
          </ac:spMkLst>
        </pc:spChg>
        <pc:spChg chg="add del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6" creationId="{FCBF9EA7-8F9C-E4F6-41F5-4BF0F6F6E4AF}"/>
          </ac:spMkLst>
        </pc:spChg>
        <pc:spChg chg="add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7" creationId="{AB6A11CA-9E6E-33E8-5936-E0BD8C743047}"/>
          </ac:spMkLst>
        </pc:spChg>
        <pc:spChg chg="add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8" creationId="{00D02138-E10B-E067-9381-25A3EE78B8DF}"/>
          </ac:spMkLst>
        </pc:spChg>
        <pc:spChg chg="add mod">
          <ac:chgData name="Dominik Buchegger" userId="4419538d-6150-464b-ac11-eb0323261855" providerId="ADAL" clId="{7A5D8453-E421-427C-AB00-6A2A8B341854}" dt="2023-05-12T20:45:16.483" v="526" actId="207"/>
          <ac:spMkLst>
            <pc:docMk/>
            <pc:sldMk cId="3936300900" sldId="1595"/>
            <ac:spMk id="19" creationId="{52C1F1DC-D985-BE17-3A9C-14589F9AE77C}"/>
          </ac:spMkLst>
        </pc:spChg>
        <pc:picChg chg="add mod modCrop">
          <ac:chgData name="Dominik Buchegger" userId="4419538d-6150-464b-ac11-eb0323261855" providerId="ADAL" clId="{7A5D8453-E421-427C-AB00-6A2A8B341854}" dt="2023-05-12T20:39:28.106" v="317" actId="1076"/>
          <ac:picMkLst>
            <pc:docMk/>
            <pc:sldMk cId="3936300900" sldId="1595"/>
            <ac:picMk id="2" creationId="{A0CDB11B-21AD-A561-DEBE-6880F3E4E300}"/>
          </ac:picMkLst>
        </pc:picChg>
        <pc:picChg chg="del">
          <ac:chgData name="Dominik Buchegger" userId="4419538d-6150-464b-ac11-eb0323261855" providerId="ADAL" clId="{7A5D8453-E421-427C-AB00-6A2A8B341854}" dt="2023-05-12T20:32:29.782" v="210" actId="478"/>
          <ac:picMkLst>
            <pc:docMk/>
            <pc:sldMk cId="3936300900" sldId="1595"/>
            <ac:picMk id="14" creationId="{3781DCDF-839C-300D-0718-EA95A22A3E6E}"/>
          </ac:picMkLst>
        </pc:picChg>
      </pc:sldChg>
      <pc:sldChg chg="delSp modSp add del mod modClrScheme chgLayout">
        <pc:chgData name="Dominik Buchegger" userId="4419538d-6150-464b-ac11-eb0323261855" providerId="ADAL" clId="{7A5D8453-E421-427C-AB00-6A2A8B341854}" dt="2023-05-12T20:53:55.086" v="1076" actId="47"/>
        <pc:sldMkLst>
          <pc:docMk/>
          <pc:sldMk cId="3487652080" sldId="1596"/>
        </pc:sldMkLst>
        <pc:spChg chg="mod ord">
          <ac:chgData name="Dominik Buchegger" userId="4419538d-6150-464b-ac11-eb0323261855" providerId="ADAL" clId="{7A5D8453-E421-427C-AB00-6A2A8B341854}" dt="2023-05-12T20:47:11.705" v="552" actId="20577"/>
          <ac:spMkLst>
            <pc:docMk/>
            <pc:sldMk cId="3487652080" sldId="1596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4" creationId="{B9ADA6DF-7210-51C0-FF3B-4ADB643A42C6}"/>
          </ac:spMkLst>
        </pc:spChg>
        <pc:spChg chg="mod ord">
          <ac:chgData name="Dominik Buchegger" userId="4419538d-6150-464b-ac11-eb0323261855" providerId="ADAL" clId="{7A5D8453-E421-427C-AB00-6A2A8B341854}" dt="2023-05-12T20:52:19.575" v="1051" actId="20577"/>
          <ac:spMkLst>
            <pc:docMk/>
            <pc:sldMk cId="3487652080" sldId="1596"/>
            <ac:spMk id="5" creationId="{32429783-15C9-9A75-A60B-85FC9A9AFBB2}"/>
          </ac:spMkLst>
        </pc:spChg>
        <pc:spChg chg="mod ord">
          <ac:chgData name="Dominik Buchegger" userId="4419538d-6150-464b-ac11-eb0323261855" providerId="ADAL" clId="{7A5D8453-E421-427C-AB00-6A2A8B341854}" dt="2023-05-12T20:52:30.457" v="1060" actId="20577"/>
          <ac:spMkLst>
            <pc:docMk/>
            <pc:sldMk cId="3487652080" sldId="1596"/>
            <ac:spMk id="7" creationId="{F666E8F7-8B25-B437-131E-F8882B62E16E}"/>
          </ac:spMkLst>
        </pc:spChg>
        <pc:spChg chg="del">
          <ac:chgData name="Dominik Buchegger" userId="4419538d-6150-464b-ac11-eb0323261855" providerId="ADAL" clId="{7A5D8453-E421-427C-AB00-6A2A8B341854}" dt="2023-05-12T20:45:50.535" v="533" actId="478"/>
          <ac:spMkLst>
            <pc:docMk/>
            <pc:sldMk cId="3487652080" sldId="1596"/>
            <ac:spMk id="9" creationId="{9CBC0E5A-E671-FB6E-AF04-BC13B1D17C1E}"/>
          </ac:spMkLst>
        </pc:spChg>
        <pc:spChg chg="del mod ord">
          <ac:chgData name="Dominik Buchegger" userId="4419538d-6150-464b-ac11-eb0323261855" providerId="ADAL" clId="{7A5D8453-E421-427C-AB00-6A2A8B341854}" dt="2023-05-12T20:45:45.035" v="530" actId="478"/>
          <ac:spMkLst>
            <pc:docMk/>
            <pc:sldMk cId="3487652080" sldId="1596"/>
            <ac:spMk id="10" creationId="{B85A0B36-9456-E980-13A3-C81C3A141A4D}"/>
          </ac:spMkLst>
        </pc:spChg>
        <pc:spChg chg="del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17" creationId="{AB6A11CA-9E6E-33E8-5936-E0BD8C743047}"/>
          </ac:spMkLst>
        </pc:spChg>
        <pc:spChg chg="del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18" creationId="{00D02138-E10B-E067-9381-25A3EE78B8DF}"/>
          </ac:spMkLst>
        </pc:spChg>
        <pc:spChg chg="del">
          <ac:chgData name="Dominik Buchegger" userId="4419538d-6150-464b-ac11-eb0323261855" providerId="ADAL" clId="{7A5D8453-E421-427C-AB00-6A2A8B341854}" dt="2023-05-12T20:45:47.546" v="531" actId="478"/>
          <ac:spMkLst>
            <pc:docMk/>
            <pc:sldMk cId="3487652080" sldId="1596"/>
            <ac:spMk id="19" creationId="{52C1F1DC-D985-BE17-3A9C-14589F9AE77C}"/>
          </ac:spMkLst>
        </pc:spChg>
        <pc:picChg chg="del">
          <ac:chgData name="Dominik Buchegger" userId="4419538d-6150-464b-ac11-eb0323261855" providerId="ADAL" clId="{7A5D8453-E421-427C-AB00-6A2A8B341854}" dt="2023-05-12T20:45:48.538" v="532" actId="478"/>
          <ac:picMkLst>
            <pc:docMk/>
            <pc:sldMk cId="3487652080" sldId="1596"/>
            <ac:picMk id="2" creationId="{A0CDB11B-21AD-A561-DEBE-6880F3E4E300}"/>
          </ac:picMkLst>
        </pc:picChg>
      </pc:sldChg>
      <pc:sldChg chg="addSp modSp add mod">
        <pc:chgData name="Dominik Buchegger" userId="4419538d-6150-464b-ac11-eb0323261855" providerId="ADAL" clId="{7A5D8453-E421-427C-AB00-6A2A8B341854}" dt="2023-05-18T16:29:00.719" v="2210" actId="14100"/>
        <pc:sldMkLst>
          <pc:docMk/>
          <pc:sldMk cId="2896078009" sldId="1597"/>
        </pc:sldMkLst>
        <pc:spChg chg="add mod">
          <ac:chgData name="Dominik Buchegger" userId="4419538d-6150-464b-ac11-eb0323261855" providerId="ADAL" clId="{7A5D8453-E421-427C-AB00-6A2A8B341854}" dt="2023-05-18T16:29:00.719" v="2210" actId="14100"/>
          <ac:spMkLst>
            <pc:docMk/>
            <pc:sldMk cId="2896078009" sldId="1597"/>
            <ac:spMk id="2" creationId="{02E84269-6B6E-BBF8-FA53-C4A903406C58}"/>
          </ac:spMkLst>
        </pc:spChg>
        <pc:spChg chg="mod">
          <ac:chgData name="Dominik Buchegger" userId="4419538d-6150-464b-ac11-eb0323261855" providerId="ADAL" clId="{7A5D8453-E421-427C-AB00-6A2A8B341854}" dt="2023-05-18T16:27:16.065" v="2013" actId="207"/>
          <ac:spMkLst>
            <pc:docMk/>
            <pc:sldMk cId="2896078009" sldId="1597"/>
            <ac:spMk id="5" creationId="{32429783-15C9-9A75-A60B-85FC9A9AFBB2}"/>
          </ac:spMkLst>
        </pc:spChg>
        <pc:spChg chg="add mod">
          <ac:chgData name="Dominik Buchegger" userId="4419538d-6150-464b-ac11-eb0323261855" providerId="ADAL" clId="{7A5D8453-E421-427C-AB00-6A2A8B341854}" dt="2023-05-18T16:28:30.315" v="2161" actId="1076"/>
          <ac:spMkLst>
            <pc:docMk/>
            <pc:sldMk cId="2896078009" sldId="1597"/>
            <ac:spMk id="6" creationId="{76720340-B670-4D31-2029-F681F8FCBAEE}"/>
          </ac:spMkLst>
        </pc:spChg>
        <pc:spChg chg="mod">
          <ac:chgData name="Dominik Buchegger" userId="4419538d-6150-464b-ac11-eb0323261855" providerId="ADAL" clId="{7A5D8453-E421-427C-AB00-6A2A8B341854}" dt="2023-05-18T16:28:51.021" v="2208" actId="20577"/>
          <ac:spMkLst>
            <pc:docMk/>
            <pc:sldMk cId="2896078009" sldId="1597"/>
            <ac:spMk id="7" creationId="{F666E8F7-8B25-B437-131E-F8882B62E16E}"/>
          </ac:spMkLst>
        </pc:spChg>
      </pc:sldChg>
      <pc:sldChg chg="addSp delSp modSp add mod">
        <pc:chgData name="Dominik Buchegger" userId="4419538d-6150-464b-ac11-eb0323261855" providerId="ADAL" clId="{7A5D8453-E421-427C-AB00-6A2A8B341854}" dt="2023-05-18T16:16:13.762" v="1982" actId="1076"/>
        <pc:sldMkLst>
          <pc:docMk/>
          <pc:sldMk cId="2801688374" sldId="1599"/>
        </pc:sldMkLst>
        <pc:spChg chg="mod">
          <ac:chgData name="Dominik Buchegger" userId="4419538d-6150-464b-ac11-eb0323261855" providerId="ADAL" clId="{7A5D8453-E421-427C-AB00-6A2A8B341854}" dt="2023-05-18T16:15:45.784" v="1977" actId="20577"/>
          <ac:spMkLst>
            <pc:docMk/>
            <pc:sldMk cId="2801688374" sldId="1599"/>
            <ac:spMk id="2" creationId="{AA44CC23-93C2-969D-52AE-42A92D4BCF7A}"/>
          </ac:spMkLst>
        </pc:spChg>
        <pc:spChg chg="add mod">
          <ac:chgData name="Dominik Buchegger" userId="4419538d-6150-464b-ac11-eb0323261855" providerId="ADAL" clId="{7A5D8453-E421-427C-AB00-6A2A8B341854}" dt="2023-05-18T16:16:13.762" v="1982" actId="1076"/>
          <ac:spMkLst>
            <pc:docMk/>
            <pc:sldMk cId="2801688374" sldId="1599"/>
            <ac:spMk id="7" creationId="{B48A4E5E-0DC3-B2B2-ED95-221F673D0205}"/>
          </ac:spMkLst>
        </pc:spChg>
        <pc:picChg chg="add mod modCrop">
          <ac:chgData name="Dominik Buchegger" userId="4419538d-6150-464b-ac11-eb0323261855" providerId="ADAL" clId="{7A5D8453-E421-427C-AB00-6A2A8B341854}" dt="2023-05-18T16:16:04.158" v="1979" actId="1076"/>
          <ac:picMkLst>
            <pc:docMk/>
            <pc:sldMk cId="2801688374" sldId="1599"/>
            <ac:picMk id="4" creationId="{DD7177DD-8288-7529-1654-318ED9A8DF22}"/>
          </ac:picMkLst>
        </pc:picChg>
        <pc:picChg chg="del">
          <ac:chgData name="Dominik Buchegger" userId="4419538d-6150-464b-ac11-eb0323261855" providerId="ADAL" clId="{7A5D8453-E421-427C-AB00-6A2A8B341854}" dt="2023-05-18T16:07:07.780" v="1718" actId="478"/>
          <ac:picMkLst>
            <pc:docMk/>
            <pc:sldMk cId="2801688374" sldId="1599"/>
            <ac:picMk id="6" creationId="{826D9988-B64A-83B4-583F-5F3D249A88F7}"/>
          </ac:picMkLst>
        </pc:picChg>
      </pc:sldChg>
      <pc:sldChg chg="modSp add mod">
        <pc:chgData name="Dominik Buchegger" userId="4419538d-6150-464b-ac11-eb0323261855" providerId="ADAL" clId="{7A5D8453-E421-427C-AB00-6A2A8B341854}" dt="2023-05-18T16:17:12.918" v="1989" actId="1076"/>
        <pc:sldMkLst>
          <pc:docMk/>
          <pc:sldMk cId="1858774771" sldId="1600"/>
        </pc:sldMkLst>
        <pc:spChg chg="mod">
          <ac:chgData name="Dominik Buchegger" userId="4419538d-6150-464b-ac11-eb0323261855" providerId="ADAL" clId="{7A5D8453-E421-427C-AB00-6A2A8B341854}" dt="2023-05-18T16:12:52.413" v="1949" actId="20577"/>
          <ac:spMkLst>
            <pc:docMk/>
            <pc:sldMk cId="1858774771" sldId="1600"/>
            <ac:spMk id="2" creationId="{AA44CC23-93C2-969D-52AE-42A92D4BCF7A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7" creationId="{A19B1494-4942-B992-03C3-9068C885E925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11" creationId="{9A545D68-3236-0258-39E0-F2E59F8027C1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15" creationId="{F972CCA4-B13B-9C70-1448-5D41E53A27B7}"/>
          </ac:spMkLst>
        </pc:spChg>
        <pc:picChg chg="mod">
          <ac:chgData name="Dominik Buchegger" userId="4419538d-6150-464b-ac11-eb0323261855" providerId="ADAL" clId="{7A5D8453-E421-427C-AB00-6A2A8B341854}" dt="2023-05-18T16:17:12.918" v="1989" actId="1076"/>
          <ac:picMkLst>
            <pc:docMk/>
            <pc:sldMk cId="1858774771" sldId="1600"/>
            <ac:picMk id="4" creationId="{E7A55A6A-2ECC-C9E4-754E-47BA8B6D0ACD}"/>
          </ac:picMkLst>
        </pc:picChg>
      </pc:sldChg>
    </pc:docChg>
  </pc:docChgLst>
  <pc:docChgLst>
    <pc:chgData name="Burch, Michael" userId="c61bac37-f303-4899-91e4-95e7d9e47247" providerId="ADAL" clId="{350F6923-3425-E74A-9082-1F6A58783646}"/>
    <pc:docChg chg="undo custSel addSld delSld modSld sldOrd">
      <pc:chgData name="Burch, Michael" userId="c61bac37-f303-4899-91e4-95e7d9e47247" providerId="ADAL" clId="{350F6923-3425-E74A-9082-1F6A58783646}" dt="2023-05-11T08:35:46.401" v="416" actId="27636"/>
      <pc:docMkLst>
        <pc:docMk/>
      </pc:docMkLst>
      <pc:sldChg chg="del">
        <pc:chgData name="Burch, Michael" userId="c61bac37-f303-4899-91e4-95e7d9e47247" providerId="ADAL" clId="{350F6923-3425-E74A-9082-1F6A58783646}" dt="2023-05-11T07:43:02.001" v="3" actId="2696"/>
        <pc:sldMkLst>
          <pc:docMk/>
          <pc:sldMk cId="2597776529" sldId="288"/>
        </pc:sldMkLst>
      </pc:sldChg>
      <pc:sldChg chg="modSp mod">
        <pc:chgData name="Burch, Michael" userId="c61bac37-f303-4899-91e4-95e7d9e47247" providerId="ADAL" clId="{350F6923-3425-E74A-9082-1F6A58783646}" dt="2023-05-11T08:16:10.069" v="251" actId="1076"/>
        <pc:sldMkLst>
          <pc:docMk/>
          <pc:sldMk cId="3241705055" sldId="1537"/>
        </pc:sldMkLst>
        <pc:spChg chg="mod">
          <ac:chgData name="Burch, Michael" userId="c61bac37-f303-4899-91e4-95e7d9e47247" providerId="ADAL" clId="{350F6923-3425-E74A-9082-1F6A58783646}" dt="2023-05-11T08:16:10.069" v="251" actId="1076"/>
          <ac:spMkLst>
            <pc:docMk/>
            <pc:sldMk cId="3241705055" sldId="1537"/>
            <ac:spMk id="2" creationId="{A92E3E48-FF8A-5E4C-67CC-8B0608A09C2C}"/>
          </ac:spMkLst>
        </pc:spChg>
      </pc:sldChg>
      <pc:sldChg chg="modSp mod">
        <pc:chgData name="Burch, Michael" userId="c61bac37-f303-4899-91e4-95e7d9e47247" providerId="ADAL" clId="{350F6923-3425-E74A-9082-1F6A58783646}" dt="2023-05-11T08:35:46.401" v="416" actId="27636"/>
        <pc:sldMkLst>
          <pc:docMk/>
          <pc:sldMk cId="3555160724" sldId="1551"/>
        </pc:sldMkLst>
        <pc:spChg chg="mod">
          <ac:chgData name="Burch, Michael" userId="c61bac37-f303-4899-91e4-95e7d9e47247" providerId="ADAL" clId="{350F6923-3425-E74A-9082-1F6A58783646}" dt="2023-05-11T08:35:46.401" v="416" actId="27636"/>
          <ac:spMkLst>
            <pc:docMk/>
            <pc:sldMk cId="3555160724" sldId="1551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7:46:49.850" v="36" actId="20577"/>
          <ac:spMkLst>
            <pc:docMk/>
            <pc:sldMk cId="3555160724" sldId="1551"/>
            <ac:spMk id="3" creationId="{641BA0E1-8D6C-A9CA-73FE-3B2AE7D021E4}"/>
          </ac:spMkLst>
        </pc:spChg>
        <pc:spChg chg="mod">
          <ac:chgData name="Burch, Michael" userId="c61bac37-f303-4899-91e4-95e7d9e47247" providerId="ADAL" clId="{350F6923-3425-E74A-9082-1F6A58783646}" dt="2023-05-11T07:45:07.222" v="35" actId="20577"/>
          <ac:spMkLst>
            <pc:docMk/>
            <pc:sldMk cId="3555160724" sldId="1551"/>
            <ac:spMk id="7" creationId="{F666E8F7-8B25-B437-131E-F8882B62E16E}"/>
          </ac:spMkLst>
        </pc:spChg>
      </pc:sldChg>
      <pc:sldChg chg="del">
        <pc:chgData name="Burch, Michael" userId="c61bac37-f303-4899-91e4-95e7d9e47247" providerId="ADAL" clId="{350F6923-3425-E74A-9082-1F6A58783646}" dt="2023-05-11T07:43:01.074" v="1" actId="2696"/>
        <pc:sldMkLst>
          <pc:docMk/>
          <pc:sldMk cId="2741464550" sldId="1567"/>
        </pc:sldMkLst>
      </pc:sldChg>
      <pc:sldChg chg="del">
        <pc:chgData name="Burch, Michael" userId="c61bac37-f303-4899-91e4-95e7d9e47247" providerId="ADAL" clId="{350F6923-3425-E74A-9082-1F6A58783646}" dt="2023-05-11T07:43:01.620" v="2" actId="2696"/>
        <pc:sldMkLst>
          <pc:docMk/>
          <pc:sldMk cId="3246657454" sldId="1568"/>
        </pc:sldMkLst>
      </pc:sldChg>
      <pc:sldChg chg="del">
        <pc:chgData name="Burch, Michael" userId="c61bac37-f303-4899-91e4-95e7d9e47247" providerId="ADAL" clId="{350F6923-3425-E74A-9082-1F6A58783646}" dt="2023-05-11T07:43:02.506" v="4" actId="2696"/>
        <pc:sldMkLst>
          <pc:docMk/>
          <pc:sldMk cId="761030588" sldId="1570"/>
        </pc:sldMkLst>
      </pc:sldChg>
      <pc:sldChg chg="del">
        <pc:chgData name="Burch, Michael" userId="c61bac37-f303-4899-91e4-95e7d9e47247" providerId="ADAL" clId="{350F6923-3425-E74A-9082-1F6A58783646}" dt="2023-05-11T07:43:03.065" v="5" actId="2696"/>
        <pc:sldMkLst>
          <pc:docMk/>
          <pc:sldMk cId="3967757145" sldId="1571"/>
        </pc:sldMkLst>
      </pc:sldChg>
      <pc:sldChg chg="del">
        <pc:chgData name="Burch, Michael" userId="c61bac37-f303-4899-91e4-95e7d9e47247" providerId="ADAL" clId="{350F6923-3425-E74A-9082-1F6A58783646}" dt="2023-05-11T07:43:04.335" v="6" actId="2696"/>
        <pc:sldMkLst>
          <pc:docMk/>
          <pc:sldMk cId="2574699634" sldId="1572"/>
        </pc:sldMkLst>
      </pc:sldChg>
      <pc:sldChg chg="del">
        <pc:chgData name="Burch, Michael" userId="c61bac37-f303-4899-91e4-95e7d9e47247" providerId="ADAL" clId="{350F6923-3425-E74A-9082-1F6A58783646}" dt="2023-05-11T07:43:04.813" v="7" actId="2696"/>
        <pc:sldMkLst>
          <pc:docMk/>
          <pc:sldMk cId="3371461181" sldId="1573"/>
        </pc:sldMkLst>
      </pc:sldChg>
      <pc:sldChg chg="del">
        <pc:chgData name="Burch, Michael" userId="c61bac37-f303-4899-91e4-95e7d9e47247" providerId="ADAL" clId="{350F6923-3425-E74A-9082-1F6A58783646}" dt="2023-05-11T07:43:05.133" v="8" actId="2696"/>
        <pc:sldMkLst>
          <pc:docMk/>
          <pc:sldMk cId="3474089893" sldId="1574"/>
        </pc:sldMkLst>
      </pc:sldChg>
      <pc:sldChg chg="del">
        <pc:chgData name="Burch, Michael" userId="c61bac37-f303-4899-91e4-95e7d9e47247" providerId="ADAL" clId="{350F6923-3425-E74A-9082-1F6A58783646}" dt="2023-05-11T07:43:05.462" v="9" actId="2696"/>
        <pc:sldMkLst>
          <pc:docMk/>
          <pc:sldMk cId="2172075571" sldId="1575"/>
        </pc:sldMkLst>
      </pc:sldChg>
      <pc:sldChg chg="del">
        <pc:chgData name="Burch, Michael" userId="c61bac37-f303-4899-91e4-95e7d9e47247" providerId="ADAL" clId="{350F6923-3425-E74A-9082-1F6A58783646}" dt="2023-05-11T07:43:05.783" v="10" actId="2696"/>
        <pc:sldMkLst>
          <pc:docMk/>
          <pc:sldMk cId="2130080384" sldId="1576"/>
        </pc:sldMkLst>
      </pc:sldChg>
      <pc:sldChg chg="del">
        <pc:chgData name="Burch, Michael" userId="c61bac37-f303-4899-91e4-95e7d9e47247" providerId="ADAL" clId="{350F6923-3425-E74A-9082-1F6A58783646}" dt="2023-05-11T07:43:06.133" v="11" actId="2696"/>
        <pc:sldMkLst>
          <pc:docMk/>
          <pc:sldMk cId="983026212" sldId="1577"/>
        </pc:sldMkLst>
      </pc:sldChg>
      <pc:sldChg chg="del">
        <pc:chgData name="Burch, Michael" userId="c61bac37-f303-4899-91e4-95e7d9e47247" providerId="ADAL" clId="{350F6923-3425-E74A-9082-1F6A58783646}" dt="2023-05-11T07:43:07.450" v="13" actId="2696"/>
        <pc:sldMkLst>
          <pc:docMk/>
          <pc:sldMk cId="1065212487" sldId="1578"/>
        </pc:sldMkLst>
      </pc:sldChg>
      <pc:sldChg chg="del">
        <pc:chgData name="Burch, Michael" userId="c61bac37-f303-4899-91e4-95e7d9e47247" providerId="ADAL" clId="{350F6923-3425-E74A-9082-1F6A58783646}" dt="2023-05-11T07:43:09.644" v="14" actId="2696"/>
        <pc:sldMkLst>
          <pc:docMk/>
          <pc:sldMk cId="4134961369" sldId="1579"/>
        </pc:sldMkLst>
      </pc:sldChg>
      <pc:sldChg chg="del">
        <pc:chgData name="Burch, Michael" userId="c61bac37-f303-4899-91e4-95e7d9e47247" providerId="ADAL" clId="{350F6923-3425-E74A-9082-1F6A58783646}" dt="2023-05-11T07:43:10.792" v="15" actId="2696"/>
        <pc:sldMkLst>
          <pc:docMk/>
          <pc:sldMk cId="2538237896" sldId="1580"/>
        </pc:sldMkLst>
      </pc:sldChg>
      <pc:sldChg chg="del">
        <pc:chgData name="Burch, Michael" userId="c61bac37-f303-4899-91e4-95e7d9e47247" providerId="ADAL" clId="{350F6923-3425-E74A-9082-1F6A58783646}" dt="2023-05-11T07:47:54.187" v="68" actId="2696"/>
        <pc:sldMkLst>
          <pc:docMk/>
          <pc:sldMk cId="1105918467" sldId="1581"/>
        </pc:sldMkLst>
      </pc:sldChg>
      <pc:sldChg chg="del">
        <pc:chgData name="Burch, Michael" userId="c61bac37-f303-4899-91e4-95e7d9e47247" providerId="ADAL" clId="{350F6923-3425-E74A-9082-1F6A58783646}" dt="2023-05-11T07:43:06.530" v="12" actId="2696"/>
        <pc:sldMkLst>
          <pc:docMk/>
          <pc:sldMk cId="1276492678" sldId="1583"/>
        </pc:sldMkLst>
      </pc:sldChg>
      <pc:sldChg chg="del">
        <pc:chgData name="Burch, Michael" userId="c61bac37-f303-4899-91e4-95e7d9e47247" providerId="ADAL" clId="{350F6923-3425-E74A-9082-1F6A58783646}" dt="2023-05-11T07:43:00.048" v="0" actId="2696"/>
        <pc:sldMkLst>
          <pc:docMk/>
          <pc:sldMk cId="1076907625" sldId="1588"/>
        </pc:sldMkLst>
      </pc:sldChg>
      <pc:sldChg chg="addSp delSp modSp add mod">
        <pc:chgData name="Burch, Michael" userId="c61bac37-f303-4899-91e4-95e7d9e47247" providerId="ADAL" clId="{350F6923-3425-E74A-9082-1F6A58783646}" dt="2023-05-11T08:15:06.346" v="218" actId="1076"/>
        <pc:sldMkLst>
          <pc:docMk/>
          <pc:sldMk cId="1200067128" sldId="1588"/>
        </pc:sldMkLst>
        <pc:spChg chg="del mod">
          <ac:chgData name="Burch, Michael" userId="c61bac37-f303-4899-91e4-95e7d9e47247" providerId="ADAL" clId="{350F6923-3425-E74A-9082-1F6A58783646}" dt="2023-05-11T08:12:09.265" v="187" actId="478"/>
          <ac:spMkLst>
            <pc:docMk/>
            <pc:sldMk cId="1200067128" sldId="1588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7:47:10.785" v="41" actId="1076"/>
          <ac:spMkLst>
            <pc:docMk/>
            <pc:sldMk cId="1200067128" sldId="1588"/>
            <ac:spMk id="3" creationId="{641BA0E1-8D6C-A9CA-73FE-3B2AE7D021E4}"/>
          </ac:spMkLst>
        </pc:spChg>
        <pc:spChg chg="mod">
          <ac:chgData name="Burch, Michael" userId="c61bac37-f303-4899-91e4-95e7d9e47247" providerId="ADAL" clId="{350F6923-3425-E74A-9082-1F6A58783646}" dt="2023-05-11T08:12:06.229" v="186" actId="20577"/>
          <ac:spMkLst>
            <pc:docMk/>
            <pc:sldMk cId="1200067128" sldId="1588"/>
            <ac:spMk id="7" creationId="{F666E8F7-8B25-B437-131E-F8882B62E16E}"/>
          </ac:spMkLst>
        </pc:spChg>
        <pc:spChg chg="add mod">
          <ac:chgData name="Burch, Michael" userId="c61bac37-f303-4899-91e4-95e7d9e47247" providerId="ADAL" clId="{350F6923-3425-E74A-9082-1F6A58783646}" dt="2023-05-11T08:15:06.346" v="218" actId="1076"/>
          <ac:spMkLst>
            <pc:docMk/>
            <pc:sldMk cId="1200067128" sldId="1588"/>
            <ac:spMk id="12" creationId="{F9279257-E993-29E7-84E2-189334FFB8D5}"/>
          </ac:spMkLst>
        </pc:spChg>
        <pc:picChg chg="add del mod">
          <ac:chgData name="Burch, Michael" userId="c61bac37-f303-4899-91e4-95e7d9e47247" providerId="ADAL" clId="{350F6923-3425-E74A-9082-1F6A58783646}" dt="2023-05-11T08:13:40.130" v="191" actId="478"/>
          <ac:picMkLst>
            <pc:docMk/>
            <pc:sldMk cId="1200067128" sldId="1588"/>
            <ac:picMk id="6" creationId="{565937C7-62BD-C7BC-25B9-D31FC491E4EA}"/>
          </ac:picMkLst>
        </pc:picChg>
        <pc:picChg chg="add mod modCrop">
          <ac:chgData name="Burch, Michael" userId="c61bac37-f303-4899-91e4-95e7d9e47247" providerId="ADAL" clId="{350F6923-3425-E74A-9082-1F6A58783646}" dt="2023-05-11T08:14:19.613" v="203" actId="1076"/>
          <ac:picMkLst>
            <pc:docMk/>
            <pc:sldMk cId="1200067128" sldId="1588"/>
            <ac:picMk id="9" creationId="{130DF4DB-0E7D-25A7-A8F7-7C2E53E4FFB6}"/>
          </ac:picMkLst>
        </pc:picChg>
        <pc:picChg chg="add mod">
          <ac:chgData name="Burch, Michael" userId="c61bac37-f303-4899-91e4-95e7d9e47247" providerId="ADAL" clId="{350F6923-3425-E74A-9082-1F6A58783646}" dt="2023-05-11T08:14:27.948" v="209" actId="1076"/>
          <ac:picMkLst>
            <pc:docMk/>
            <pc:sldMk cId="1200067128" sldId="1588"/>
            <ac:picMk id="11" creationId="{4CC1D0D8-5EB2-65B7-DBCC-EF489417A3A6}"/>
          </ac:picMkLst>
        </pc:picChg>
      </pc:sldChg>
      <pc:sldChg chg="modSp add mod">
        <pc:chgData name="Burch, Michael" userId="c61bac37-f303-4899-91e4-95e7d9e47247" providerId="ADAL" clId="{350F6923-3425-E74A-9082-1F6A58783646}" dt="2023-05-11T08:33:56.086" v="378" actId="20577"/>
        <pc:sldMkLst>
          <pc:docMk/>
          <pc:sldMk cId="3691471691" sldId="1589"/>
        </pc:sldMkLst>
        <pc:spChg chg="mod">
          <ac:chgData name="Burch, Michael" userId="c61bac37-f303-4899-91e4-95e7d9e47247" providerId="ADAL" clId="{350F6923-3425-E74A-9082-1F6A58783646}" dt="2023-05-11T08:32:59.774" v="365" actId="113"/>
          <ac:spMkLst>
            <pc:docMk/>
            <pc:sldMk cId="3691471691" sldId="1589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8:33:56.086" v="378" actId="20577"/>
          <ac:spMkLst>
            <pc:docMk/>
            <pc:sldMk cId="3691471691" sldId="1589"/>
            <ac:spMk id="7" creationId="{F666E8F7-8B25-B437-131E-F8882B62E16E}"/>
          </ac:spMkLst>
        </pc:spChg>
      </pc:sldChg>
      <pc:sldChg chg="addSp delSp modSp add mod ord">
        <pc:chgData name="Burch, Michael" userId="c61bac37-f303-4899-91e4-95e7d9e47247" providerId="ADAL" clId="{350F6923-3425-E74A-9082-1F6A58783646}" dt="2023-05-11T08:14:49.493" v="216" actId="1076"/>
        <pc:sldMkLst>
          <pc:docMk/>
          <pc:sldMk cId="4083298857" sldId="1590"/>
        </pc:sldMkLst>
        <pc:spChg chg="del mod">
          <ac:chgData name="Burch, Michael" userId="c61bac37-f303-4899-91e4-95e7d9e47247" providerId="ADAL" clId="{350F6923-3425-E74A-9082-1F6A58783646}" dt="2023-05-11T07:49:12.952" v="90" actId="478"/>
          <ac:spMkLst>
            <pc:docMk/>
            <pc:sldMk cId="4083298857" sldId="1590"/>
            <ac:spMk id="2" creationId="{DF770251-C66F-37B2-FA29-31FE5C038085}"/>
          </ac:spMkLst>
        </pc:spChg>
        <pc:spChg chg="add del mod">
          <ac:chgData name="Burch, Michael" userId="c61bac37-f303-4899-91e4-95e7d9e47247" providerId="ADAL" clId="{350F6923-3425-E74A-9082-1F6A58783646}" dt="2023-05-11T07:49:24.246" v="94" actId="478"/>
          <ac:spMkLst>
            <pc:docMk/>
            <pc:sldMk cId="4083298857" sldId="1590"/>
            <ac:spMk id="5" creationId="{FC9DD4CD-31A7-A2C5-01A0-388F124D7E14}"/>
          </ac:spMkLst>
        </pc:spChg>
        <pc:spChg chg="mod">
          <ac:chgData name="Burch, Michael" userId="c61bac37-f303-4899-91e4-95e7d9e47247" providerId="ADAL" clId="{350F6923-3425-E74A-9082-1F6A58783646}" dt="2023-05-11T08:06:41.078" v="117" actId="20577"/>
          <ac:spMkLst>
            <pc:docMk/>
            <pc:sldMk cId="4083298857" sldId="1590"/>
            <ac:spMk id="7" creationId="{F666E8F7-8B25-B437-131E-F8882B62E16E}"/>
          </ac:spMkLst>
        </pc:spChg>
        <pc:spChg chg="add mod">
          <ac:chgData name="Burch, Michael" userId="c61bac37-f303-4899-91e4-95e7d9e47247" providerId="ADAL" clId="{350F6923-3425-E74A-9082-1F6A58783646}" dt="2023-05-11T08:14:49.493" v="216" actId="1076"/>
          <ac:spMkLst>
            <pc:docMk/>
            <pc:sldMk cId="4083298857" sldId="1590"/>
            <ac:spMk id="13" creationId="{A4C52426-87A7-6733-3157-9F6D9520A5D6}"/>
          </ac:spMkLst>
        </pc:spChg>
        <pc:picChg chg="add mod modCrop">
          <ac:chgData name="Burch, Michael" userId="c61bac37-f303-4899-91e4-95e7d9e47247" providerId="ADAL" clId="{350F6923-3425-E74A-9082-1F6A58783646}" dt="2023-05-11T08:14:38.951" v="212" actId="1076"/>
          <ac:picMkLst>
            <pc:docMk/>
            <pc:sldMk cId="4083298857" sldId="1590"/>
            <ac:picMk id="8" creationId="{9892F158-A303-CA5C-D6E3-5359E4F21C3E}"/>
          </ac:picMkLst>
        </pc:picChg>
        <pc:picChg chg="add mod">
          <ac:chgData name="Burch, Michael" userId="c61bac37-f303-4899-91e4-95e7d9e47247" providerId="ADAL" clId="{350F6923-3425-E74A-9082-1F6A58783646}" dt="2023-05-11T08:14:46.589" v="215" actId="1076"/>
          <ac:picMkLst>
            <pc:docMk/>
            <pc:sldMk cId="4083298857" sldId="1590"/>
            <ac:picMk id="10" creationId="{96573FE4-0417-A597-4D0B-E162A509F9C2}"/>
          </ac:picMkLst>
        </pc:picChg>
        <pc:cxnChg chg="add del">
          <ac:chgData name="Burch, Michael" userId="c61bac37-f303-4899-91e4-95e7d9e47247" providerId="ADAL" clId="{350F6923-3425-E74A-9082-1F6A58783646}" dt="2023-05-11T08:07:12.654" v="129" actId="478"/>
          <ac:cxnSpMkLst>
            <pc:docMk/>
            <pc:sldMk cId="4083298857" sldId="1590"/>
            <ac:cxnSpMk id="12" creationId="{35C1032F-26BD-0151-7AD1-0304C64C3562}"/>
          </ac:cxnSpMkLst>
        </pc:cxnChg>
      </pc:sldChg>
      <pc:sldChg chg="modSp add mod">
        <pc:chgData name="Burch, Michael" userId="c61bac37-f303-4899-91e4-95e7d9e47247" providerId="ADAL" clId="{350F6923-3425-E74A-9082-1F6A58783646}" dt="2023-05-11T08:34:05.506" v="387" actId="20577"/>
        <pc:sldMkLst>
          <pc:docMk/>
          <pc:sldMk cId="654984513" sldId="1591"/>
        </pc:sldMkLst>
        <pc:spChg chg="mod">
          <ac:chgData name="Burch, Michael" userId="c61bac37-f303-4899-91e4-95e7d9e47247" providerId="ADAL" clId="{350F6923-3425-E74A-9082-1F6A58783646}" dt="2023-05-11T08:33:03.959" v="366" actId="113"/>
          <ac:spMkLst>
            <pc:docMk/>
            <pc:sldMk cId="654984513" sldId="1591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8:34:05.506" v="387" actId="20577"/>
          <ac:spMkLst>
            <pc:docMk/>
            <pc:sldMk cId="654984513" sldId="1591"/>
            <ac:spMk id="7" creationId="{F666E8F7-8B25-B437-131E-F8882B62E16E}"/>
          </ac:spMkLst>
        </pc:spChg>
      </pc:sldChg>
      <pc:sldMasterChg chg="delSldLayout">
        <pc:chgData name="Burch, Michael" userId="c61bac37-f303-4899-91e4-95e7d9e47247" providerId="ADAL" clId="{350F6923-3425-E74A-9082-1F6A58783646}" dt="2023-05-11T07:43:02.001" v="3" actId="2696"/>
        <pc:sldMasterMkLst>
          <pc:docMk/>
          <pc:sldMasterMk cId="4246037650" sldId="2147483660"/>
        </pc:sldMasterMkLst>
        <pc:sldLayoutChg chg="del">
          <pc:chgData name="Burch, Michael" userId="c61bac37-f303-4899-91e4-95e7d9e47247" providerId="ADAL" clId="{350F6923-3425-E74A-9082-1F6A58783646}" dt="2023-05-11T07:43:02.001" v="3" actId="2696"/>
          <pc:sldLayoutMkLst>
            <pc:docMk/>
            <pc:sldMasterMk cId="4246037650" sldId="2147483660"/>
            <pc:sldLayoutMk cId="841433079" sldId="2147483707"/>
          </pc:sldLayoutMkLst>
        </pc:sldLayoutChg>
      </pc:sldMasterChg>
    </pc:docChg>
  </pc:docChgLst>
  <pc:docChgLst>
    <pc:chgData name="Bonilla, LeaMarta" userId="aa5362c7-0476-4c50-b52f-35c2791cd063" providerId="ADAL" clId="{D72EF6D5-5C3F-4ACD-BBC3-DE29842C285A}"/>
    <pc:docChg chg="undo custSel addSld delSld modSld modMainMaster replTag">
      <pc:chgData name="Bonilla, LeaMarta" userId="aa5362c7-0476-4c50-b52f-35c2791cd063" providerId="ADAL" clId="{D72EF6D5-5C3F-4ACD-BBC3-DE29842C285A}" dt="2023-05-22T15:54:35.619" v="2096" actId="47"/>
      <pc:docMkLst>
        <pc:docMk/>
      </pc:docMkLst>
      <pc:sldChg chg="new add del">
        <pc:chgData name="Bonilla, LeaMarta" userId="aa5362c7-0476-4c50-b52f-35c2791cd063" providerId="ADAL" clId="{D72EF6D5-5C3F-4ACD-BBC3-DE29842C285A}" dt="2023-05-22T15:07:49.765" v="2" actId="47"/>
        <pc:sldMkLst>
          <pc:docMk/>
          <pc:sldMk cId="2454846520" sldId="1594"/>
        </pc:sldMkLst>
      </pc:sldChg>
      <pc:sldChg chg="addSp delSp modSp new add mod">
        <pc:chgData name="Bonilla, LeaMarta" userId="aa5362c7-0476-4c50-b52f-35c2791cd063" providerId="ADAL" clId="{D72EF6D5-5C3F-4ACD-BBC3-DE29842C285A}" dt="2023-05-22T15:44:59.989" v="1653" actId="113"/>
        <pc:sldMkLst>
          <pc:docMk/>
          <pc:sldMk cId="3684072942" sldId="1594"/>
        </pc:sldMkLst>
        <pc:spChg chg="mod">
          <ac:chgData name="Bonilla, LeaMarta" userId="aa5362c7-0476-4c50-b52f-35c2791cd063" providerId="ADAL" clId="{D72EF6D5-5C3F-4ACD-BBC3-DE29842C285A}" dt="2023-05-22T15:12:41.389" v="390" actId="1076"/>
          <ac:spMkLst>
            <pc:docMk/>
            <pc:sldMk cId="3684072942" sldId="1594"/>
            <ac:spMk id="2" creationId="{F850D240-9F85-9440-5580-D5A8B8811829}"/>
          </ac:spMkLst>
        </pc:spChg>
        <pc:spChg chg="del mod">
          <ac:chgData name="Bonilla, LeaMarta" userId="aa5362c7-0476-4c50-b52f-35c2791cd063" providerId="ADAL" clId="{D72EF6D5-5C3F-4ACD-BBC3-DE29842C285A}" dt="2023-05-22T15:17:34.150" v="692" actId="478"/>
          <ac:spMkLst>
            <pc:docMk/>
            <pc:sldMk cId="3684072942" sldId="1594"/>
            <ac:spMk id="3" creationId="{E6009B74-5DF4-9684-9D7B-7641CABC8A60}"/>
          </ac:spMkLst>
        </pc:spChg>
        <pc:spChg chg="add del mod modVis">
          <ac:chgData name="Bonilla, LeaMarta" userId="aa5362c7-0476-4c50-b52f-35c2791cd063" providerId="ADAL" clId="{D72EF6D5-5C3F-4ACD-BBC3-DE29842C285A}" dt="2023-05-22T15:08:34.797" v="72"/>
          <ac:spMkLst>
            <pc:docMk/>
            <pc:sldMk cId="3684072942" sldId="1594"/>
            <ac:spMk id="5" creationId="{DFA4655F-3909-395F-1BD6-56E5C85A9C58}"/>
          </ac:spMkLst>
        </pc:spChg>
        <pc:spChg chg="add del mod modVis">
          <ac:chgData name="Bonilla, LeaMarta" userId="aa5362c7-0476-4c50-b52f-35c2791cd063" providerId="ADAL" clId="{D72EF6D5-5C3F-4ACD-BBC3-DE29842C285A}" dt="2023-05-22T15:08:35.528" v="114"/>
          <ac:spMkLst>
            <pc:docMk/>
            <pc:sldMk cId="3684072942" sldId="1594"/>
            <ac:spMk id="7" creationId="{6A867027-A6AE-7D37-D9A9-304CB3E9D7A1}"/>
          </ac:spMkLst>
        </pc:spChg>
        <pc:spChg chg="add del mod modVis">
          <ac:chgData name="Bonilla, LeaMarta" userId="aa5362c7-0476-4c50-b52f-35c2791cd063" providerId="ADAL" clId="{D72EF6D5-5C3F-4ACD-BBC3-DE29842C285A}" dt="2023-05-22T15:08:38.033" v="153"/>
          <ac:spMkLst>
            <pc:docMk/>
            <pc:sldMk cId="3684072942" sldId="1594"/>
            <ac:spMk id="8" creationId="{61B5C856-9606-B229-C9D2-75233D09BFD4}"/>
          </ac:spMkLst>
        </pc:spChg>
        <pc:spChg chg="add del mod modVis">
          <ac:chgData name="Bonilla, LeaMarta" userId="aa5362c7-0476-4c50-b52f-35c2791cd063" providerId="ADAL" clId="{D72EF6D5-5C3F-4ACD-BBC3-DE29842C285A}" dt="2023-05-22T15:08:39.185" v="183"/>
          <ac:spMkLst>
            <pc:docMk/>
            <pc:sldMk cId="3684072942" sldId="1594"/>
            <ac:spMk id="9" creationId="{7CDEAF3F-96DB-003B-A557-4E39CD8A0F68}"/>
          </ac:spMkLst>
        </pc:spChg>
        <pc:spChg chg="add del mod modVis">
          <ac:chgData name="Bonilla, LeaMarta" userId="aa5362c7-0476-4c50-b52f-35c2791cd063" providerId="ADAL" clId="{D72EF6D5-5C3F-4ACD-BBC3-DE29842C285A}" dt="2023-05-22T15:08:40.441" v="213"/>
          <ac:spMkLst>
            <pc:docMk/>
            <pc:sldMk cId="3684072942" sldId="1594"/>
            <ac:spMk id="10" creationId="{F25B4843-C0F3-8A32-ECFA-ED2F412C117E}"/>
          </ac:spMkLst>
        </pc:spChg>
        <pc:spChg chg="add del mod">
          <ac:chgData name="Bonilla, LeaMarta" userId="aa5362c7-0476-4c50-b52f-35c2791cd063" providerId="ADAL" clId="{D72EF6D5-5C3F-4ACD-BBC3-DE29842C285A}" dt="2023-05-22T15:11:19.313" v="377" actId="478"/>
          <ac:spMkLst>
            <pc:docMk/>
            <pc:sldMk cId="3684072942" sldId="1594"/>
            <ac:spMk id="11" creationId="{AA1ED9F3-7FB9-BB25-6BEC-4C405BAF25C2}"/>
          </ac:spMkLst>
        </pc:spChg>
        <pc:spChg chg="add del mod">
          <ac:chgData name="Bonilla, LeaMarta" userId="aa5362c7-0476-4c50-b52f-35c2791cd063" providerId="ADAL" clId="{D72EF6D5-5C3F-4ACD-BBC3-DE29842C285A}" dt="2023-05-22T15:13:34.169" v="401" actId="478"/>
          <ac:spMkLst>
            <pc:docMk/>
            <pc:sldMk cId="3684072942" sldId="1594"/>
            <ac:spMk id="12" creationId="{0376EF98-85E0-1886-9998-9906E0148BF9}"/>
          </ac:spMkLst>
        </pc:spChg>
        <pc:spChg chg="add mod topLvl">
          <ac:chgData name="Bonilla, LeaMarta" userId="aa5362c7-0476-4c50-b52f-35c2791cd063" providerId="ADAL" clId="{D72EF6D5-5C3F-4ACD-BBC3-DE29842C285A}" dt="2023-05-22T15:41:22.149" v="1431" actId="1035"/>
          <ac:spMkLst>
            <pc:docMk/>
            <pc:sldMk cId="3684072942" sldId="1594"/>
            <ac:spMk id="13" creationId="{8F6D7424-3D98-31A3-6620-F95F07FE21D4}"/>
          </ac:spMkLst>
        </pc:spChg>
        <pc:spChg chg="add mod topLvl">
          <ac:chgData name="Bonilla, LeaMarta" userId="aa5362c7-0476-4c50-b52f-35c2791cd063" providerId="ADAL" clId="{D72EF6D5-5C3F-4ACD-BBC3-DE29842C285A}" dt="2023-05-22T15:41:22.149" v="1431" actId="1035"/>
          <ac:spMkLst>
            <pc:docMk/>
            <pc:sldMk cId="3684072942" sldId="1594"/>
            <ac:spMk id="14" creationId="{D5710EDF-430D-B323-7533-D2D1380B92AF}"/>
          </ac:spMkLst>
        </pc:spChg>
        <pc:spChg chg="add del mod">
          <ac:chgData name="Bonilla, LeaMarta" userId="aa5362c7-0476-4c50-b52f-35c2791cd063" providerId="ADAL" clId="{D72EF6D5-5C3F-4ACD-BBC3-DE29842C285A}" dt="2023-05-22T15:13:36.677" v="402" actId="478"/>
          <ac:spMkLst>
            <pc:docMk/>
            <pc:sldMk cId="3684072942" sldId="1594"/>
            <ac:spMk id="15" creationId="{1139C8B0-4E25-42F4-8C03-3E058830F727}"/>
          </ac:spMkLst>
        </pc:spChg>
        <pc:spChg chg="add mod topLvl">
          <ac:chgData name="Bonilla, LeaMarta" userId="aa5362c7-0476-4c50-b52f-35c2791cd063" providerId="ADAL" clId="{D72EF6D5-5C3F-4ACD-BBC3-DE29842C285A}" dt="2023-05-22T15:41:22.149" v="1431" actId="1035"/>
          <ac:spMkLst>
            <pc:docMk/>
            <pc:sldMk cId="3684072942" sldId="1594"/>
            <ac:spMk id="16" creationId="{E566C55D-D7C5-16AF-CF82-FB7E87D15FE2}"/>
          </ac:spMkLst>
        </pc:spChg>
        <pc:spChg chg="add mod topLvl">
          <ac:chgData name="Bonilla, LeaMarta" userId="aa5362c7-0476-4c50-b52f-35c2791cd063" providerId="ADAL" clId="{D72EF6D5-5C3F-4ACD-BBC3-DE29842C285A}" dt="2023-05-22T15:41:22.149" v="1431" actId="1035"/>
          <ac:spMkLst>
            <pc:docMk/>
            <pc:sldMk cId="3684072942" sldId="1594"/>
            <ac:spMk id="17" creationId="{62C42622-E29E-9773-C076-6FAF6E83FCE7}"/>
          </ac:spMkLst>
        </pc:spChg>
        <pc:spChg chg="add del mod">
          <ac:chgData name="Bonilla, LeaMarta" userId="aa5362c7-0476-4c50-b52f-35c2791cd063" providerId="ADAL" clId="{D72EF6D5-5C3F-4ACD-BBC3-DE29842C285A}" dt="2023-05-22T15:13:38.914" v="403" actId="478"/>
          <ac:spMkLst>
            <pc:docMk/>
            <pc:sldMk cId="3684072942" sldId="1594"/>
            <ac:spMk id="18" creationId="{953F6DC3-AF7E-6313-7996-B40F0CB899D6}"/>
          </ac:spMkLst>
        </pc:spChg>
        <pc:spChg chg="add mod topLvl">
          <ac:chgData name="Bonilla, LeaMarta" userId="aa5362c7-0476-4c50-b52f-35c2791cd063" providerId="ADAL" clId="{D72EF6D5-5C3F-4ACD-BBC3-DE29842C285A}" dt="2023-05-22T15:41:22.149" v="1431" actId="1035"/>
          <ac:spMkLst>
            <pc:docMk/>
            <pc:sldMk cId="3684072942" sldId="1594"/>
            <ac:spMk id="19" creationId="{774F44F4-D9E3-609B-ACEB-4EC4DE2CB622}"/>
          </ac:spMkLst>
        </pc:spChg>
        <pc:spChg chg="add mod topLvl">
          <ac:chgData name="Bonilla, LeaMarta" userId="aa5362c7-0476-4c50-b52f-35c2791cd063" providerId="ADAL" clId="{D72EF6D5-5C3F-4ACD-BBC3-DE29842C285A}" dt="2023-05-22T15:41:22.149" v="1431" actId="1035"/>
          <ac:spMkLst>
            <pc:docMk/>
            <pc:sldMk cId="3684072942" sldId="1594"/>
            <ac:spMk id="20" creationId="{FC6E5395-F3C2-0818-6565-02BFA23F2F23}"/>
          </ac:spMkLst>
        </pc:spChg>
        <pc:spChg chg="add mod">
          <ac:chgData name="Bonilla, LeaMarta" userId="aa5362c7-0476-4c50-b52f-35c2791cd063" providerId="ADAL" clId="{D72EF6D5-5C3F-4ACD-BBC3-DE29842C285A}" dt="2023-05-22T15:40:42.787" v="1421" actId="1035"/>
          <ac:spMkLst>
            <pc:docMk/>
            <pc:sldMk cId="3684072942" sldId="1594"/>
            <ac:spMk id="24" creationId="{76D12431-39B0-3B4D-BB03-EE884DA82F3F}"/>
          </ac:spMkLst>
        </pc:spChg>
        <pc:spChg chg="add del mod">
          <ac:chgData name="Bonilla, LeaMarta" userId="aa5362c7-0476-4c50-b52f-35c2791cd063" providerId="ADAL" clId="{D72EF6D5-5C3F-4ACD-BBC3-DE29842C285A}" dt="2023-05-22T15:17:37.006" v="693" actId="478"/>
          <ac:spMkLst>
            <pc:docMk/>
            <pc:sldMk cId="3684072942" sldId="1594"/>
            <ac:spMk id="26" creationId="{F4682135-E683-C963-786C-8872F378AA07}"/>
          </ac:spMkLst>
        </pc:spChg>
        <pc:spChg chg="add mod">
          <ac:chgData name="Bonilla, LeaMarta" userId="aa5362c7-0476-4c50-b52f-35c2791cd063" providerId="ADAL" clId="{D72EF6D5-5C3F-4ACD-BBC3-DE29842C285A}" dt="2023-05-22T15:41:58.614" v="1438" actId="14100"/>
          <ac:spMkLst>
            <pc:docMk/>
            <pc:sldMk cId="3684072942" sldId="1594"/>
            <ac:spMk id="27" creationId="{888D1E7B-D8ED-C519-0198-694D11203B88}"/>
          </ac:spMkLst>
        </pc:spChg>
        <pc:spChg chg="add del mod">
          <ac:chgData name="Bonilla, LeaMarta" userId="aa5362c7-0476-4c50-b52f-35c2791cd063" providerId="ADAL" clId="{D72EF6D5-5C3F-4ACD-BBC3-DE29842C285A}" dt="2023-05-22T15:33:30.948" v="1062" actId="478"/>
          <ac:spMkLst>
            <pc:docMk/>
            <pc:sldMk cId="3684072942" sldId="1594"/>
            <ac:spMk id="28" creationId="{5DADCFF6-6064-E92A-EE77-07E85ABA6B05}"/>
          </ac:spMkLst>
        </pc:spChg>
        <pc:spChg chg="add del mod">
          <ac:chgData name="Bonilla, LeaMarta" userId="aa5362c7-0476-4c50-b52f-35c2791cd063" providerId="ADAL" clId="{D72EF6D5-5C3F-4ACD-BBC3-DE29842C285A}" dt="2023-05-22T15:31:35.211" v="1035" actId="478"/>
          <ac:spMkLst>
            <pc:docMk/>
            <pc:sldMk cId="3684072942" sldId="1594"/>
            <ac:spMk id="29" creationId="{2A9E6C58-8BE2-39BB-5DA8-B74CFEE5DF0B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0" creationId="{7B197E96-7AC9-0990-8F44-725D45A4C3DD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1" creationId="{7646F405-447D-3B04-C53E-9BDB9C30E6F7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2" creationId="{0DC5E265-6459-545C-0A37-C621A100F041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3" creationId="{009F8E1C-66B1-2E4E-C63A-0E16137562A8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4" creationId="{6C4EAF48-009E-F2EB-BEEB-100E0772401D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5" creationId="{ECADC6D6-F7E6-0C50-ACA5-AE2B7FD922C7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6" creationId="{24D66B46-4355-7319-0473-966DC6DA07FC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7" creationId="{E0FBCD91-8B96-30B9-4071-C22ED1ADCEDE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8" creationId="{F15CEC69-615C-6C5D-5408-623503818C11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39" creationId="{E9EA4059-74D3-3E1E-5719-C511C9F613B8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40" creationId="{4BF6B469-E1A8-A212-8189-857A10DEA86B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41" creationId="{1B289334-5638-DC43-6D2B-4A3CE32F8296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42" creationId="{A4857AAC-C34B-0FD4-00AE-6E9C8DBB3D42}"/>
          </ac:spMkLst>
        </pc:spChg>
        <pc:spChg chg="add del mod">
          <ac:chgData name="Bonilla, LeaMarta" userId="aa5362c7-0476-4c50-b52f-35c2791cd063" providerId="ADAL" clId="{D72EF6D5-5C3F-4ACD-BBC3-DE29842C285A}" dt="2023-05-22T15:32:15.779" v="1041" actId="478"/>
          <ac:spMkLst>
            <pc:docMk/>
            <pc:sldMk cId="3684072942" sldId="1594"/>
            <ac:spMk id="43" creationId="{5EBAF66A-FA72-5CB5-A96E-78FDB51C3B31}"/>
          </ac:spMkLst>
        </pc:spChg>
        <pc:spChg chg="add mod">
          <ac:chgData name="Bonilla, LeaMarta" userId="aa5362c7-0476-4c50-b52f-35c2791cd063" providerId="ADAL" clId="{D72EF6D5-5C3F-4ACD-BBC3-DE29842C285A}" dt="2023-05-22T15:41:37.933" v="1432" actId="14100"/>
          <ac:spMkLst>
            <pc:docMk/>
            <pc:sldMk cId="3684072942" sldId="1594"/>
            <ac:spMk id="47" creationId="{3453BBB7-B8D7-C89A-870E-B0AC15AD9DBA}"/>
          </ac:spMkLst>
        </pc:spChg>
        <pc:spChg chg="add mod">
          <ac:chgData name="Bonilla, LeaMarta" userId="aa5362c7-0476-4c50-b52f-35c2791cd063" providerId="ADAL" clId="{D72EF6D5-5C3F-4ACD-BBC3-DE29842C285A}" dt="2023-05-22T15:41:58.614" v="1438" actId="14100"/>
          <ac:spMkLst>
            <pc:docMk/>
            <pc:sldMk cId="3684072942" sldId="1594"/>
            <ac:spMk id="48" creationId="{8AACB4C8-D293-182D-B843-C9F8DD21DB9F}"/>
          </ac:spMkLst>
        </pc:spChg>
        <pc:spChg chg="add mod">
          <ac:chgData name="Bonilla, LeaMarta" userId="aa5362c7-0476-4c50-b52f-35c2791cd063" providerId="ADAL" clId="{D72EF6D5-5C3F-4ACD-BBC3-DE29842C285A}" dt="2023-05-22T15:44:59.989" v="1653" actId="113"/>
          <ac:spMkLst>
            <pc:docMk/>
            <pc:sldMk cId="3684072942" sldId="1594"/>
            <ac:spMk id="49" creationId="{BF610EC8-889D-2605-D3F0-95953DB64AD6}"/>
          </ac:spMkLst>
        </pc:spChg>
        <pc:spChg chg="add mod">
          <ac:chgData name="Bonilla, LeaMarta" userId="aa5362c7-0476-4c50-b52f-35c2791cd063" providerId="ADAL" clId="{D72EF6D5-5C3F-4ACD-BBC3-DE29842C285A}" dt="2023-05-22T15:41:58.614" v="1438" actId="14100"/>
          <ac:spMkLst>
            <pc:docMk/>
            <pc:sldMk cId="3684072942" sldId="1594"/>
            <ac:spMk id="50" creationId="{115D697F-496A-CB9D-58B7-0CAD9A1A42F1}"/>
          </ac:spMkLst>
        </pc:spChg>
        <pc:grpChg chg="add del mod">
          <ac:chgData name="Bonilla, LeaMarta" userId="aa5362c7-0476-4c50-b52f-35c2791cd063" providerId="ADAL" clId="{D72EF6D5-5C3F-4ACD-BBC3-DE29842C285A}" dt="2023-05-22T15:34:38.591" v="1072" actId="165"/>
          <ac:grpSpMkLst>
            <pc:docMk/>
            <pc:sldMk cId="3684072942" sldId="1594"/>
            <ac:grpSpMk id="21" creationId="{E0B13F15-AD6B-4FB0-7B19-A5987D46480E}"/>
          </ac:grpSpMkLst>
        </pc:grpChg>
        <pc:grpChg chg="add del mod">
          <ac:chgData name="Bonilla, LeaMarta" userId="aa5362c7-0476-4c50-b52f-35c2791cd063" providerId="ADAL" clId="{D72EF6D5-5C3F-4ACD-BBC3-DE29842C285A}" dt="2023-05-22T15:34:38.591" v="1072" actId="165"/>
          <ac:grpSpMkLst>
            <pc:docMk/>
            <pc:sldMk cId="3684072942" sldId="1594"/>
            <ac:grpSpMk id="22" creationId="{56E12DD8-5C5C-45A0-50C6-2E7CCCEF695A}"/>
          </ac:grpSpMkLst>
        </pc:grpChg>
        <pc:grpChg chg="add del mod">
          <ac:chgData name="Bonilla, LeaMarta" userId="aa5362c7-0476-4c50-b52f-35c2791cd063" providerId="ADAL" clId="{D72EF6D5-5C3F-4ACD-BBC3-DE29842C285A}" dt="2023-05-22T15:34:38.591" v="1072" actId="165"/>
          <ac:grpSpMkLst>
            <pc:docMk/>
            <pc:sldMk cId="3684072942" sldId="1594"/>
            <ac:grpSpMk id="23" creationId="{EF689130-FF71-5DFB-8F36-E203BD641F7C}"/>
          </ac:grpSpMkLst>
        </pc:grpChg>
        <pc:graphicFrameChg chg="add mod ord modVis replST">
          <ac:chgData name="Bonilla, LeaMarta" userId="aa5362c7-0476-4c50-b52f-35c2791cd063" providerId="ADAL" clId="{D72EF6D5-5C3F-4ACD-BBC3-DE29842C285A}" dt="2023-05-22T15:12:41.417" v="392"/>
          <ac:graphicFrameMkLst>
            <pc:docMk/>
            <pc:sldMk cId="3684072942" sldId="1594"/>
            <ac:graphicFrameMk id="6" creationId="{57D4514B-E33F-DBB1-4F81-E237D4825709}"/>
          </ac:graphicFrameMkLst>
        </pc:graphicFrameChg>
        <pc:picChg chg="add mod">
          <ac:chgData name="Bonilla, LeaMarta" userId="aa5362c7-0476-4c50-b52f-35c2791cd063" providerId="ADAL" clId="{D72EF6D5-5C3F-4ACD-BBC3-DE29842C285A}" dt="2023-05-22T15:41:22.149" v="1431" actId="1035"/>
          <ac:picMkLst>
            <pc:docMk/>
            <pc:sldMk cId="3684072942" sldId="1594"/>
            <ac:picMk id="44" creationId="{47214887-BE3D-75EB-C7D8-A4932B5E378F}"/>
          </ac:picMkLst>
        </pc:picChg>
        <pc:picChg chg="add mod">
          <ac:chgData name="Bonilla, LeaMarta" userId="aa5362c7-0476-4c50-b52f-35c2791cd063" providerId="ADAL" clId="{D72EF6D5-5C3F-4ACD-BBC3-DE29842C285A}" dt="2023-05-22T15:41:22.149" v="1431" actId="1035"/>
          <ac:picMkLst>
            <pc:docMk/>
            <pc:sldMk cId="3684072942" sldId="1594"/>
            <ac:picMk id="45" creationId="{B70602AF-B417-39AE-CA82-DCE3C976F290}"/>
          </ac:picMkLst>
        </pc:picChg>
        <pc:picChg chg="add mod">
          <ac:chgData name="Bonilla, LeaMarta" userId="aa5362c7-0476-4c50-b52f-35c2791cd063" providerId="ADAL" clId="{D72EF6D5-5C3F-4ACD-BBC3-DE29842C285A}" dt="2023-05-22T15:41:22.149" v="1431" actId="1035"/>
          <ac:picMkLst>
            <pc:docMk/>
            <pc:sldMk cId="3684072942" sldId="1594"/>
            <ac:picMk id="46" creationId="{1E341592-8908-D5B7-7808-ED6DBA596D85}"/>
          </ac:picMkLst>
        </pc:picChg>
      </pc:sldChg>
      <pc:sldChg chg="addSp delSp modSp new add del mod">
        <pc:chgData name="Bonilla, LeaMarta" userId="aa5362c7-0476-4c50-b52f-35c2791cd063" providerId="ADAL" clId="{D72EF6D5-5C3F-4ACD-BBC3-DE29842C285A}" dt="2023-05-22T15:43:51.692" v="1636" actId="47"/>
        <pc:sldMkLst>
          <pc:docMk/>
          <pc:sldMk cId="384418914" sldId="1595"/>
        </pc:sldMkLst>
        <pc:spChg chg="mod">
          <ac:chgData name="Bonilla, LeaMarta" userId="aa5362c7-0476-4c50-b52f-35c2791cd063" providerId="ADAL" clId="{D72EF6D5-5C3F-4ACD-BBC3-DE29842C285A}" dt="2023-05-22T15:43:36.472" v="1610" actId="948"/>
          <ac:spMkLst>
            <pc:docMk/>
            <pc:sldMk cId="384418914" sldId="1595"/>
            <ac:spMk id="2" creationId="{55BA6635-87A6-8AF3-94E1-A792302258F8}"/>
          </ac:spMkLst>
        </pc:spChg>
        <pc:spChg chg="add del mod modVis">
          <ac:chgData name="Bonilla, LeaMarta" userId="aa5362c7-0476-4c50-b52f-35c2791cd063" providerId="ADAL" clId="{D72EF6D5-5C3F-4ACD-BBC3-DE29842C285A}" dt="2023-05-22T15:43:23.176" v="1479"/>
          <ac:spMkLst>
            <pc:docMk/>
            <pc:sldMk cId="384418914" sldId="1595"/>
            <ac:spMk id="5" creationId="{9BBA6FD6-712D-0F9A-21EA-3DCADB7243FD}"/>
          </ac:spMkLst>
        </pc:spChg>
        <pc:spChg chg="add del mod modVis">
          <ac:chgData name="Bonilla, LeaMarta" userId="aa5362c7-0476-4c50-b52f-35c2791cd063" providerId="ADAL" clId="{D72EF6D5-5C3F-4ACD-BBC3-DE29842C285A}" dt="2023-05-22T15:43:26.690" v="1533"/>
          <ac:spMkLst>
            <pc:docMk/>
            <pc:sldMk cId="384418914" sldId="1595"/>
            <ac:spMk id="7" creationId="{80E205F8-B8C6-E24B-565B-7A490CC6F7F6}"/>
          </ac:spMkLst>
        </pc:spChg>
        <pc:spChg chg="add del mod modVis">
          <ac:chgData name="Bonilla, LeaMarta" userId="aa5362c7-0476-4c50-b52f-35c2791cd063" providerId="ADAL" clId="{D72EF6D5-5C3F-4ACD-BBC3-DE29842C285A}" dt="2023-05-22T15:43:29.269" v="1570"/>
          <ac:spMkLst>
            <pc:docMk/>
            <pc:sldMk cId="384418914" sldId="1595"/>
            <ac:spMk id="8" creationId="{737181E6-0AA5-27A1-1FDF-AD7D16BC621E}"/>
          </ac:spMkLst>
        </pc:spChg>
        <pc:spChg chg="add del mod modVis">
          <ac:chgData name="Bonilla, LeaMarta" userId="aa5362c7-0476-4c50-b52f-35c2791cd063" providerId="ADAL" clId="{D72EF6D5-5C3F-4ACD-BBC3-DE29842C285A}" dt="2023-05-22T15:43:36.548" v="1633"/>
          <ac:spMkLst>
            <pc:docMk/>
            <pc:sldMk cId="384418914" sldId="1595"/>
            <ac:spMk id="9" creationId="{40843700-6FA8-F429-A4F4-06BB8CD36D99}"/>
          </ac:spMkLst>
        </pc:spChg>
        <pc:graphicFrameChg chg="add mod ord modVis replST">
          <ac:chgData name="Bonilla, LeaMarta" userId="aa5362c7-0476-4c50-b52f-35c2791cd063" providerId="ADAL" clId="{D72EF6D5-5C3F-4ACD-BBC3-DE29842C285A}" dt="2023-05-22T15:43:36.556" v="1635"/>
          <ac:graphicFrameMkLst>
            <pc:docMk/>
            <pc:sldMk cId="384418914" sldId="1595"/>
            <ac:graphicFrameMk id="6" creationId="{20B1CCEC-B6AC-0FB7-C7E1-7C3316221E2D}"/>
          </ac:graphicFrameMkLst>
        </pc:graphicFrameChg>
      </pc:sldChg>
      <pc:sldChg chg="addSp delSp modSp new add del mod">
        <pc:chgData name="Bonilla, LeaMarta" userId="aa5362c7-0476-4c50-b52f-35c2791cd063" providerId="ADAL" clId="{D72EF6D5-5C3F-4ACD-BBC3-DE29842C285A}" dt="2023-05-22T15:54:35.619" v="2096" actId="47"/>
        <pc:sldMkLst>
          <pc:docMk/>
          <pc:sldMk cId="2029814657" sldId="1595"/>
        </pc:sldMkLst>
        <pc:spChg chg="mod">
          <ac:chgData name="Bonilla, LeaMarta" userId="aa5362c7-0476-4c50-b52f-35c2791cd063" providerId="ADAL" clId="{D72EF6D5-5C3F-4ACD-BBC3-DE29842C285A}" dt="2023-05-22T15:47:48.178" v="1862" actId="948"/>
          <ac:spMkLst>
            <pc:docMk/>
            <pc:sldMk cId="2029814657" sldId="1595"/>
            <ac:spMk id="2" creationId="{609AD85E-202D-379F-D3B9-E901B4DA0017}"/>
          </ac:spMkLst>
        </pc:spChg>
        <pc:spChg chg="del">
          <ac:chgData name="Bonilla, LeaMarta" userId="aa5362c7-0476-4c50-b52f-35c2791cd063" providerId="ADAL" clId="{D72EF6D5-5C3F-4ACD-BBC3-DE29842C285A}" dt="2023-05-22T15:47:31.674" v="1829" actId="478"/>
          <ac:spMkLst>
            <pc:docMk/>
            <pc:sldMk cId="2029814657" sldId="1595"/>
            <ac:spMk id="3" creationId="{1928E364-0DC0-9D66-B0F3-E2EC69E1E655}"/>
          </ac:spMkLst>
        </pc:spChg>
        <pc:spChg chg="add del mod modVis">
          <ac:chgData name="Bonilla, LeaMarta" userId="aa5362c7-0476-4c50-b52f-35c2791cd063" providerId="ADAL" clId="{D72EF6D5-5C3F-4ACD-BBC3-DE29842C285A}" dt="2023-05-22T15:47:23.895" v="1733"/>
          <ac:spMkLst>
            <pc:docMk/>
            <pc:sldMk cId="2029814657" sldId="1595"/>
            <ac:spMk id="6" creationId="{E8767081-07C8-D7F4-6124-4F49644B53B7}"/>
          </ac:spMkLst>
        </pc:spChg>
        <pc:spChg chg="add del mod modVis">
          <ac:chgData name="Bonilla, LeaMarta" userId="aa5362c7-0476-4c50-b52f-35c2791cd063" providerId="ADAL" clId="{D72EF6D5-5C3F-4ACD-BBC3-DE29842C285A}" dt="2023-05-22T15:47:26.875" v="1772"/>
          <ac:spMkLst>
            <pc:docMk/>
            <pc:sldMk cId="2029814657" sldId="1595"/>
            <ac:spMk id="7" creationId="{06449BA8-4AF8-FC0C-8B89-2F43E8E608A3}"/>
          </ac:spMkLst>
        </pc:spChg>
        <pc:spChg chg="add del mod modVis">
          <ac:chgData name="Bonilla, LeaMarta" userId="aa5362c7-0476-4c50-b52f-35c2791cd063" providerId="ADAL" clId="{D72EF6D5-5C3F-4ACD-BBC3-DE29842C285A}" dt="2023-05-22T15:47:27.583" v="1799"/>
          <ac:spMkLst>
            <pc:docMk/>
            <pc:sldMk cId="2029814657" sldId="1595"/>
            <ac:spMk id="8" creationId="{7FE541BA-D227-CD55-D79A-5116DF234D3C}"/>
          </ac:spMkLst>
        </pc:spChg>
        <pc:spChg chg="add del mod modVis">
          <ac:chgData name="Bonilla, LeaMarta" userId="aa5362c7-0476-4c50-b52f-35c2791cd063" providerId="ADAL" clId="{D72EF6D5-5C3F-4ACD-BBC3-DE29842C285A}" dt="2023-05-22T15:47:28.225" v="1826"/>
          <ac:spMkLst>
            <pc:docMk/>
            <pc:sldMk cId="2029814657" sldId="1595"/>
            <ac:spMk id="9" creationId="{8781C662-0C1B-0373-902D-645A3936B5D8}"/>
          </ac:spMkLst>
        </pc:spChg>
        <pc:spChg chg="add del mod modVis">
          <ac:chgData name="Bonilla, LeaMarta" userId="aa5362c7-0476-4c50-b52f-35c2791cd063" providerId="ADAL" clId="{D72EF6D5-5C3F-4ACD-BBC3-DE29842C285A}" dt="2023-05-22T15:47:47.014" v="1856"/>
          <ac:spMkLst>
            <pc:docMk/>
            <pc:sldMk cId="2029814657" sldId="1595"/>
            <ac:spMk id="10" creationId="{6215B920-55F9-8376-2D26-7FD8FF8B0567}"/>
          </ac:spMkLst>
        </pc:spChg>
        <pc:spChg chg="add del mod modVis">
          <ac:chgData name="Bonilla, LeaMarta" userId="aa5362c7-0476-4c50-b52f-35c2791cd063" providerId="ADAL" clId="{D72EF6D5-5C3F-4ACD-BBC3-DE29842C285A}" dt="2023-05-22T15:47:48.254" v="1885"/>
          <ac:spMkLst>
            <pc:docMk/>
            <pc:sldMk cId="2029814657" sldId="1595"/>
            <ac:spMk id="11" creationId="{1B717BF0-6C2C-964B-7CE7-939C175B7DC4}"/>
          </ac:spMkLst>
        </pc:spChg>
        <pc:spChg chg="add mod">
          <ac:chgData name="Bonilla, LeaMarta" userId="aa5362c7-0476-4c50-b52f-35c2791cd063" providerId="ADAL" clId="{D72EF6D5-5C3F-4ACD-BBC3-DE29842C285A}" dt="2023-05-22T15:50:32.081" v="1977" actId="20577"/>
          <ac:spMkLst>
            <pc:docMk/>
            <pc:sldMk cId="2029814657" sldId="1595"/>
            <ac:spMk id="12" creationId="{8C31E678-382A-46A3-D0DC-E18B6DBEC2E7}"/>
          </ac:spMkLst>
        </pc:spChg>
        <pc:spChg chg="add mod">
          <ac:chgData name="Bonilla, LeaMarta" userId="aa5362c7-0476-4c50-b52f-35c2791cd063" providerId="ADAL" clId="{D72EF6D5-5C3F-4ACD-BBC3-DE29842C285A}" dt="2023-05-22T15:54:02.833" v="2095" actId="20577"/>
          <ac:spMkLst>
            <pc:docMk/>
            <pc:sldMk cId="2029814657" sldId="1595"/>
            <ac:spMk id="13" creationId="{C04D6625-20B6-E075-90EE-C0EA40789EDE}"/>
          </ac:spMkLst>
        </pc:spChg>
        <pc:graphicFrameChg chg="add mod ord modVis replST">
          <ac:chgData name="Bonilla, LeaMarta" userId="aa5362c7-0476-4c50-b52f-35c2791cd063" providerId="ADAL" clId="{D72EF6D5-5C3F-4ACD-BBC3-DE29842C285A}" dt="2023-05-22T15:47:48.258" v="1887"/>
          <ac:graphicFrameMkLst>
            <pc:docMk/>
            <pc:sldMk cId="2029814657" sldId="1595"/>
            <ac:graphicFrameMk id="5" creationId="{E6CB85AB-0CC4-5F0A-9846-22C43029D470}"/>
          </ac:graphicFrameMkLst>
        </pc:graphicFrameChg>
      </pc:sldChg>
      <pc:sldMasterChg chg="addSp delSp modSp mod">
        <pc:chgData name="Bonilla, LeaMarta" userId="aa5362c7-0476-4c50-b52f-35c2791cd063" providerId="ADAL" clId="{D72EF6D5-5C3F-4ACD-BBC3-DE29842C285A}" dt="2023-05-22T15:08:34.789" v="70"/>
        <pc:sldMasterMkLst>
          <pc:docMk/>
          <pc:sldMasterMk cId="4246037650" sldId="2147483660"/>
        </pc:sldMasterMkLst>
        <pc:spChg chg="mod">
          <ac:chgData name="Bonilla, LeaMarta" userId="aa5362c7-0476-4c50-b52f-35c2791cd063" providerId="ADAL" clId="{D72EF6D5-5C3F-4ACD-BBC3-DE29842C285A}" dt="2023-05-22T15:08:34.429" v="12" actId="948"/>
          <ac:spMkLst>
            <pc:docMk/>
            <pc:sldMasterMk cId="4246037650" sldId="2147483660"/>
            <ac:spMk id="2" creationId="{22501321-794C-47B8-ABDC-7DAF88C9DC68}"/>
          </ac:spMkLst>
        </pc:spChg>
        <pc:spChg chg="add del mod modVis">
          <ac:chgData name="Bonilla, LeaMarta" userId="aa5362c7-0476-4c50-b52f-35c2791cd063" providerId="ADAL" clId="{D72EF6D5-5C3F-4ACD-BBC3-DE29842C285A}" dt="2023-05-22T15:08:34.637" v="55"/>
          <ac:spMkLst>
            <pc:docMk/>
            <pc:sldMasterMk cId="4246037650" sldId="2147483660"/>
            <ac:spMk id="4" creationId="{2506EF45-FEF1-BD67-729A-41ACF694D247}"/>
          </ac:spMkLst>
        </pc:spChg>
        <pc:graphicFrameChg chg="add mod ord modVis replST">
          <ac:chgData name="Bonilla, LeaMarta" userId="aa5362c7-0476-4c50-b52f-35c2791cd063" providerId="ADAL" clId="{D72EF6D5-5C3F-4ACD-BBC3-DE29842C285A}" dt="2023-05-22T15:08:34.789" v="70"/>
          <ac:graphicFrameMkLst>
            <pc:docMk/>
            <pc:sldMasterMk cId="4246037650" sldId="2147483660"/>
            <ac:graphicFrameMk id="5" creationId="{EE60FA9D-68B3-9AFE-E32C-7B4282EB8747}"/>
          </ac:graphicFrameMkLst>
        </pc:graphicFrameChg>
      </pc:sldMasterChg>
    </pc:docChg>
  </pc:docChgLst>
  <pc:docChgLst>
    <pc:chgData name="Mizutani, Iori" userId="S::iori.mizutani@unisg.ch::61732c85-4620-4df0-bf02-1d16ba9cd624" providerId="AD" clId="Web-{F04CDFFB-086E-48E4-986A-8A6A0D86CB71}"/>
    <pc:docChg chg="delSld modSld">
      <pc:chgData name="Mizutani, Iori" userId="S::iori.mizutani@unisg.ch::61732c85-4620-4df0-bf02-1d16ba9cd624" providerId="AD" clId="Web-{F04CDFFB-086E-48E4-986A-8A6A0D86CB71}" dt="2023-05-24T10:19:39.139" v="19" actId="20577"/>
      <pc:docMkLst>
        <pc:docMk/>
      </pc:docMkLst>
      <pc:sldChg chg="modSp">
        <pc:chgData name="Mizutani, Iori" userId="S::iori.mizutani@unisg.ch::61732c85-4620-4df0-bf02-1d16ba9cd624" providerId="AD" clId="Web-{F04CDFFB-086E-48E4-986A-8A6A0D86CB71}" dt="2023-05-24T10:19:39.139" v="19" actId="20577"/>
        <pc:sldMkLst>
          <pc:docMk/>
          <pc:sldMk cId="2946332310" sldId="1460"/>
        </pc:sldMkLst>
        <pc:spChg chg="mod">
          <ac:chgData name="Mizutani, Iori" userId="S::iori.mizutani@unisg.ch::61732c85-4620-4df0-bf02-1d16ba9cd624" providerId="AD" clId="Web-{F04CDFFB-086E-48E4-986A-8A6A0D86CB71}" dt="2023-05-24T10:19:39.139" v="19" actId="20577"/>
          <ac:spMkLst>
            <pc:docMk/>
            <pc:sldMk cId="2946332310" sldId="1460"/>
            <ac:spMk id="2" creationId="{38C104DD-55A5-D5D7-68B1-A81097757DA7}"/>
          </ac:spMkLst>
        </pc:spChg>
      </pc:sldChg>
      <pc:sldChg chg="del">
        <pc:chgData name="Mizutani, Iori" userId="S::iori.mizutani@unisg.ch::61732c85-4620-4df0-bf02-1d16ba9cd624" providerId="AD" clId="Web-{F04CDFFB-086E-48E4-986A-8A6A0D86CB71}" dt="2023-05-24T10:18:47.794" v="9"/>
        <pc:sldMkLst>
          <pc:docMk/>
          <pc:sldMk cId="860905568" sldId="1461"/>
        </pc:sldMkLst>
      </pc:sldChg>
      <pc:sldChg chg="modSp">
        <pc:chgData name="Mizutani, Iori" userId="S::iori.mizutani@unisg.ch::61732c85-4620-4df0-bf02-1d16ba9cd624" providerId="AD" clId="Web-{F04CDFFB-086E-48E4-986A-8A6A0D86CB71}" dt="2023-05-24T10:19:34.201" v="17" actId="20577"/>
        <pc:sldMkLst>
          <pc:docMk/>
          <pc:sldMk cId="455783933" sldId="1496"/>
        </pc:sldMkLst>
        <pc:spChg chg="mod">
          <ac:chgData name="Mizutani, Iori" userId="S::iori.mizutani@unisg.ch::61732c85-4620-4df0-bf02-1d16ba9cd624" providerId="AD" clId="Web-{F04CDFFB-086E-48E4-986A-8A6A0D86CB71}" dt="2023-05-24T10:19:34.201" v="17" actId="20577"/>
          <ac:spMkLst>
            <pc:docMk/>
            <pc:sldMk cId="455783933" sldId="1496"/>
            <ac:spMk id="2" creationId="{C36256A2-67B2-CA01-7417-6A9C17C6B307}"/>
          </ac:spMkLst>
        </pc:spChg>
      </pc:sldChg>
      <pc:sldChg chg="modSp">
        <pc:chgData name="Mizutani, Iori" userId="S::iori.mizutani@unisg.ch::61732c85-4620-4df0-bf02-1d16ba9cd624" providerId="AD" clId="Web-{F04CDFFB-086E-48E4-986A-8A6A0D86CB71}" dt="2023-05-24T10:18:00.387" v="1" actId="20577"/>
        <pc:sldMkLst>
          <pc:docMk/>
          <pc:sldMk cId="723318487" sldId="1582"/>
        </pc:sldMkLst>
        <pc:spChg chg="mod">
          <ac:chgData name="Mizutani, Iori" userId="S::iori.mizutani@unisg.ch::61732c85-4620-4df0-bf02-1d16ba9cd624" providerId="AD" clId="Web-{F04CDFFB-086E-48E4-986A-8A6A0D86CB71}" dt="2023-05-24T10:18:00.387" v="1" actId="20577"/>
          <ac:spMkLst>
            <pc:docMk/>
            <pc:sldMk cId="723318487" sldId="1582"/>
            <ac:spMk id="6" creationId="{F5EEC294-B771-D940-6194-AB1896DE8EC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26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376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7.jpeg"/><Relationship Id="rId7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Mai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Mai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Mai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Mai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err="1">
                <a:solidFill>
                  <a:schemeClr val="tx1"/>
                </a:solidFill>
              </a:rPr>
              <a:t>Torstrasse</a:t>
            </a:r>
            <a:r>
              <a:rPr lang="en-GB" sz="100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3" imgH="330" progId="TCLayout.ActiveDocument.1">
                  <p:embed/>
                </p:oleObj>
              </mc:Choice>
              <mc:Fallback>
                <p:oleObj name="think-cell Foli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6190089" y="0"/>
            <a:ext cx="2953911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Mai 23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Mai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Mai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60FA9D-68B3-9AFE-E32C-7B4282EB87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5762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425" imgH="424" progId="TCLayout.ActiveDocument.1">
                  <p:embed/>
                </p:oleObj>
              </mc:Choice>
              <mc:Fallback>
                <p:oleObj name="think-cell Folie" r:id="rId3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60FA9D-68B3-9AFE-E32C-7B4282EB87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eepnote.com/@djilax/4-Kfold-cross-validation-My-machine-learning-pipeline-2cb8b563-3b67-469e-8805-bb4d9341cf72" TargetMode="Externa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lirst.last@%3Cstudent.%3Eunisg.ch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colab.research.google.com/drive/1457p-FTfDfU2I7M3YhGuh3rBML28ccMC?usp=sharing" TargetMode="Externa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udeperf3ct.github.io/lstm/gru/nlp/2019/01/28/Force-of-LSTM-and-GRU/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dudeperf3ct.github.io/lstm/gru/nlp/2019/01/28/Force-of-LSTM-and-GRU/" TargetMode="Externa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/>
              <a:t>Grundlagen und Methoden </a:t>
            </a:r>
            <a:br>
              <a:rPr lang="de-DE" sz="4000"/>
            </a:br>
            <a:r>
              <a:rPr lang="de-DE" sz="4000"/>
              <a:t>der Informatik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de-DE" b="1" dirty="0" err="1"/>
              <a:t>Exercise</a:t>
            </a:r>
            <a:r>
              <a:rPr lang="de-DE" b="1" dirty="0"/>
              <a:t> </a:t>
            </a:r>
            <a:r>
              <a:rPr lang="de-DE" b="1" dirty="0" err="1"/>
              <a:t>week</a:t>
            </a:r>
            <a:r>
              <a:rPr lang="de-DE" b="1" dirty="0"/>
              <a:t> 12</a:t>
            </a:r>
          </a:p>
          <a:p>
            <a:endParaRPr lang="de-DE"/>
          </a:p>
          <a:p>
            <a:r>
              <a:rPr lang="de-DE" dirty="0"/>
              <a:t>&lt; </a:t>
            </a:r>
            <a:r>
              <a:rPr lang="de-DE" dirty="0" err="1"/>
              <a:t>Fname</a:t>
            </a:r>
            <a:r>
              <a:rPr lang="de-DE" dirty="0"/>
              <a:t> </a:t>
            </a:r>
            <a:r>
              <a:rPr lang="de-DE" dirty="0" err="1"/>
              <a:t>Lname</a:t>
            </a:r>
            <a:r>
              <a:rPr lang="de-DE" dirty="0"/>
              <a:t> &gt;</a:t>
            </a:r>
          </a:p>
          <a:p>
            <a:r>
              <a:rPr lang="de-DE" dirty="0"/>
              <a:t>&lt; </a:t>
            </a:r>
            <a:r>
              <a:rPr lang="de-DE" dirty="0" err="1"/>
              <a:t>Exercise</a:t>
            </a:r>
            <a:r>
              <a:rPr lang="de-DE" dirty="0"/>
              <a:t> Group &gt;</a:t>
            </a:r>
          </a:p>
        </p:txBody>
      </p:sp>
    </p:spTree>
    <p:extLst>
      <p:ext uri="{BB962C8B-B14F-4D97-AF65-F5344CB8AC3E}">
        <p14:creationId xmlns:p14="http://schemas.microsoft.com/office/powerpoint/2010/main" val="3772496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de-CH" dirty="0"/>
              <a:t>K-</a:t>
            </a:r>
            <a:r>
              <a:rPr lang="de-CH" dirty="0" err="1"/>
              <a:t>Fold</a:t>
            </a:r>
            <a:r>
              <a:rPr lang="de-CH" dirty="0"/>
              <a:t> </a:t>
            </a:r>
            <a:r>
              <a:rPr lang="de-CH" dirty="0" err="1"/>
              <a:t>split</a:t>
            </a:r>
            <a:endParaRPr lang="en-GB" dirty="0"/>
          </a:p>
        </p:txBody>
      </p:sp>
      <p:pic>
        <p:nvPicPr>
          <p:cNvPr id="11" name="Picture 10" descr="Diagram, timeline&#10;&#10;Description automatically generated">
            <a:extLst>
              <a:ext uri="{FF2B5EF4-FFF2-40B4-BE49-F238E27FC236}">
                <a16:creationId xmlns:a16="http://schemas.microsoft.com/office/drawing/2014/main" id="{00A3B78E-31AC-D95B-1C39-7F3F08BAB2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768620"/>
            <a:ext cx="6843527" cy="3849484"/>
          </a:xfrm>
          <a:prstGeom prst="rect">
            <a:avLst/>
          </a:prstGeom>
          <a:noFill/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10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85788"/>
            <a:ext cx="8425656" cy="290450"/>
          </a:xfrm>
        </p:spPr>
        <p:txBody>
          <a:bodyPr vert="horz" lIns="0" tIns="0" rIns="0" bIns="0" rtlCol="0" anchor="ctr">
            <a:normAutofit/>
          </a:bodyPr>
          <a:lstStyle/>
          <a:p>
            <a:r>
              <a:rPr lang="de-DE" kern="1200" baseline="0" dirty="0">
                <a:latin typeface="+mj-lt"/>
                <a:ea typeface="+mn-ea"/>
                <a:cs typeface="Arial" pitchFamily="34" charset="0"/>
              </a:rPr>
              <a:t>2. Lecture Cont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4F6B2D-F561-9410-CEEE-ABF398C17DE3}"/>
              </a:ext>
            </a:extLst>
          </p:cNvPr>
          <p:cNvSpPr txBox="1"/>
          <p:nvPr/>
        </p:nvSpPr>
        <p:spPr>
          <a:xfrm>
            <a:off x="5049878" y="-114989"/>
            <a:ext cx="4122738" cy="859813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 lnSpcReduction="10000"/>
          </a:bodyPr>
          <a:lstStyle/>
          <a:p>
            <a:pPr>
              <a:spcAft>
                <a:spcPts val="600"/>
              </a:spcAft>
              <a:buFont typeface="Arial" panose="020B0604020202020204" pitchFamily="34" charset="0"/>
            </a:pPr>
            <a:r>
              <a:rPr lang="en-GB" sz="1400" dirty="0">
                <a:hlinkClick r:id="rId3"/>
              </a:rPr>
              <a:t>https://deepnote.com/@djilax/4-Kfold-cross-validation-My-machine-learning-pipeline-2cb8b563-3b67-469e-8805-bb4d9341cf72</a:t>
            </a:r>
            <a:endParaRPr lang="en-GB" sz="1400" dirty="0"/>
          </a:p>
          <a:p>
            <a:pPr>
              <a:spcAft>
                <a:spcPts val="600"/>
              </a:spcAft>
              <a:buFont typeface="Arial" panose="020B0604020202020204" pitchFamily="34" charset="0"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7460877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84" y="615461"/>
            <a:ext cx="7789431" cy="3660617"/>
          </a:xfrm>
        </p:spPr>
        <p:txBody>
          <a:bodyPr>
            <a:normAutofit fontScale="90000"/>
          </a:bodyPr>
          <a:lstStyle/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3. </a:t>
            </a:r>
            <a:r>
              <a:rPr lang="en-GB" dirty="0">
                <a:latin typeface="Gill Sans Nova Light"/>
              </a:rPr>
              <a:t>Questions?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51898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7D4514B-E33F-DBB1-4F81-E237D48257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270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D4514B-E33F-DBB1-4F81-E237D4825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850D240-9F85-9440-5580-D5A8B881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epa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am</a:t>
            </a:r>
            <a:r>
              <a:rPr lang="de-DE" dirty="0"/>
              <a:t>…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89C4DA-C5BA-70A6-24C7-550116BB4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13" name="Oval 46">
            <a:extLst>
              <a:ext uri="{FF2B5EF4-FFF2-40B4-BE49-F238E27FC236}">
                <a16:creationId xmlns:a16="http://schemas.microsoft.com/office/drawing/2014/main" id="{8F6D7424-3D98-31A3-6620-F95F07FE21D4}"/>
              </a:ext>
            </a:extLst>
          </p:cNvPr>
          <p:cNvSpPr>
            <a:spLocks noChangeAspect="1"/>
          </p:cNvSpPr>
          <p:nvPr/>
        </p:nvSpPr>
        <p:spPr>
          <a:xfrm>
            <a:off x="1026049" y="1023330"/>
            <a:ext cx="1095235" cy="1095235"/>
          </a:xfrm>
          <a:prstGeom prst="ellipse">
            <a:avLst/>
          </a:prstGeom>
          <a:solidFill>
            <a:schemeClr val="accent1">
              <a:alpha val="33000"/>
            </a:schemeClr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50">
            <a:extLst>
              <a:ext uri="{FF2B5EF4-FFF2-40B4-BE49-F238E27FC236}">
                <a16:creationId xmlns:a16="http://schemas.microsoft.com/office/drawing/2014/main" id="{D5710EDF-430D-B323-7533-D2D1380B92AF}"/>
              </a:ext>
            </a:extLst>
          </p:cNvPr>
          <p:cNvSpPr txBox="1"/>
          <p:nvPr/>
        </p:nvSpPr>
        <p:spPr>
          <a:xfrm>
            <a:off x="556139" y="2237060"/>
            <a:ext cx="202569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latin typeface="Raleway" panose="020B0003030101060003" pitchFamily="34" charset="0"/>
                <a:ea typeface="Roboto Light" panose="02000000000000000000" pitchFamily="2" charset="0"/>
              </a:rPr>
              <a:t>Lecture Content</a:t>
            </a:r>
            <a:endParaRPr lang="en-US" sz="500" b="1" dirty="0">
              <a:latin typeface="Raleway" panose="020B0003030101060003" pitchFamily="34" charset="0"/>
              <a:ea typeface="Roboto Light" panose="02000000000000000000" pitchFamily="2" charset="0"/>
            </a:endParaRPr>
          </a:p>
          <a:p>
            <a:pPr algn="ctr"/>
            <a:r>
              <a:rPr lang="en-US" sz="1050" dirty="0">
                <a:latin typeface="Calibri Light" panose="020F0302020204030204" pitchFamily="34" charset="0"/>
                <a:ea typeface="Roboto Light" panose="02000000000000000000" pitchFamily="2" charset="0"/>
              </a:rPr>
              <a:t>Review the content from the lectures: theory &amp; coding</a:t>
            </a:r>
            <a:endParaRPr lang="en-US" sz="1050" b="1" dirty="0">
              <a:latin typeface="Raleway" panose="020B0003030101060003" pitchFamily="34" charset="0"/>
            </a:endParaRPr>
          </a:p>
        </p:txBody>
      </p:sp>
      <p:sp>
        <p:nvSpPr>
          <p:cNvPr id="16" name="Oval 47">
            <a:extLst>
              <a:ext uri="{FF2B5EF4-FFF2-40B4-BE49-F238E27FC236}">
                <a16:creationId xmlns:a16="http://schemas.microsoft.com/office/drawing/2014/main" id="{E566C55D-D7C5-16AF-CF82-FB7E87D15FE2}"/>
              </a:ext>
            </a:extLst>
          </p:cNvPr>
          <p:cNvSpPr>
            <a:spLocks noChangeAspect="1"/>
          </p:cNvSpPr>
          <p:nvPr/>
        </p:nvSpPr>
        <p:spPr>
          <a:xfrm>
            <a:off x="3977046" y="1023330"/>
            <a:ext cx="1095235" cy="1095235"/>
          </a:xfrm>
          <a:prstGeom prst="ellipse">
            <a:avLst/>
          </a:prstGeom>
          <a:solidFill>
            <a:schemeClr val="accent1">
              <a:alpha val="33000"/>
            </a:schemeClr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62C42622-E29E-9773-C076-6FAF6E83FCE7}"/>
              </a:ext>
            </a:extLst>
          </p:cNvPr>
          <p:cNvSpPr txBox="1"/>
          <p:nvPr/>
        </p:nvSpPr>
        <p:spPr>
          <a:xfrm>
            <a:off x="3579326" y="2238444"/>
            <a:ext cx="190419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latin typeface="Raleway" panose="020B0003030101060003" pitchFamily="34" charset="0"/>
                <a:ea typeface="Roboto Light" panose="02000000000000000000" pitchFamily="2" charset="0"/>
              </a:rPr>
              <a:t>Assignments</a:t>
            </a:r>
            <a:endParaRPr lang="en-US" sz="500" b="1" dirty="0">
              <a:latin typeface="Raleway" panose="020B0003030101060003" pitchFamily="34" charset="0"/>
              <a:ea typeface="Roboto Light" panose="02000000000000000000" pitchFamily="2" charset="0"/>
            </a:endParaRPr>
          </a:p>
          <a:p>
            <a:pPr algn="ctr"/>
            <a:r>
              <a:rPr lang="en-US" sz="1050" dirty="0">
                <a:latin typeface="Calibri Light" panose="020F0302020204030204" pitchFamily="34" charset="0"/>
                <a:ea typeface="Roboto Light" panose="02000000000000000000" pitchFamily="2" charset="0"/>
              </a:rPr>
              <a:t>Look at the assignments and try to solve them again</a:t>
            </a:r>
            <a:endParaRPr lang="en-US" sz="1050" b="1" dirty="0">
              <a:latin typeface="Raleway" panose="020B0003030101060003" pitchFamily="34" charset="0"/>
            </a:endParaRPr>
          </a:p>
        </p:txBody>
      </p:sp>
      <p:sp>
        <p:nvSpPr>
          <p:cNvPr id="19" name="Oval 48">
            <a:extLst>
              <a:ext uri="{FF2B5EF4-FFF2-40B4-BE49-F238E27FC236}">
                <a16:creationId xmlns:a16="http://schemas.microsoft.com/office/drawing/2014/main" id="{774F44F4-D9E3-609B-ACEB-4EC4DE2CB622}"/>
              </a:ext>
            </a:extLst>
          </p:cNvPr>
          <p:cNvSpPr>
            <a:spLocks noChangeAspect="1"/>
          </p:cNvSpPr>
          <p:nvPr/>
        </p:nvSpPr>
        <p:spPr>
          <a:xfrm>
            <a:off x="6946604" y="1023330"/>
            <a:ext cx="1095235" cy="1095235"/>
          </a:xfrm>
          <a:prstGeom prst="ellipse">
            <a:avLst/>
          </a:prstGeom>
          <a:solidFill>
            <a:schemeClr val="accent1">
              <a:alpha val="33000"/>
            </a:schemeClr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57">
            <a:extLst>
              <a:ext uri="{FF2B5EF4-FFF2-40B4-BE49-F238E27FC236}">
                <a16:creationId xmlns:a16="http://schemas.microsoft.com/office/drawing/2014/main" id="{FC6E5395-F3C2-0818-6565-02BFA23F2F23}"/>
              </a:ext>
            </a:extLst>
          </p:cNvPr>
          <p:cNvSpPr txBox="1"/>
          <p:nvPr/>
        </p:nvSpPr>
        <p:spPr>
          <a:xfrm>
            <a:off x="6562170" y="2237060"/>
            <a:ext cx="190419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latin typeface="Raleway" panose="020B0003030101060003" pitchFamily="34" charset="0"/>
                <a:ea typeface="Roboto Light" panose="02000000000000000000" pitchFamily="2" charset="0"/>
              </a:rPr>
              <a:t>Quizzes</a:t>
            </a:r>
            <a:endParaRPr lang="en-US" sz="500" b="1" dirty="0">
              <a:latin typeface="Raleway" panose="020B0003030101060003" pitchFamily="34" charset="0"/>
              <a:ea typeface="Roboto Light" panose="02000000000000000000" pitchFamily="2" charset="0"/>
            </a:endParaRPr>
          </a:p>
          <a:p>
            <a:pPr algn="ctr"/>
            <a:r>
              <a:rPr lang="en-US" sz="1050" dirty="0">
                <a:latin typeface="Calibri Light" panose="020F0302020204030204" pitchFamily="34" charset="0"/>
                <a:ea typeface="Roboto Light" panose="02000000000000000000" pitchFamily="2" charset="0"/>
              </a:rPr>
              <a:t>Look at the quizzes and try to solve them again</a:t>
            </a:r>
            <a:endParaRPr lang="en-US" sz="1050" b="1" dirty="0">
              <a:latin typeface="Raleway" panose="020B0003030101060003" pitchFamily="34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6D12431-39B0-3B4D-BB03-EE884DA82F3F}"/>
              </a:ext>
            </a:extLst>
          </p:cNvPr>
          <p:cNvSpPr/>
          <p:nvPr/>
        </p:nvSpPr>
        <p:spPr>
          <a:xfrm>
            <a:off x="422569" y="2995413"/>
            <a:ext cx="8362655" cy="566587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24000">
              <a:spcBef>
                <a:spcPts val="2400"/>
              </a:spcBef>
            </a:pPr>
            <a:r>
              <a:rPr lang="en-US" dirty="0">
                <a:solidFill>
                  <a:schemeClr val="tx1"/>
                </a:solidFill>
              </a:rPr>
              <a:t>It is crucial to develop a genuine and comprehensive </a:t>
            </a:r>
            <a:r>
              <a:rPr lang="en-US" b="1" dirty="0">
                <a:solidFill>
                  <a:schemeClr val="tx1"/>
                </a:solidFill>
              </a:rPr>
              <a:t>understanding</a:t>
            </a:r>
            <a:r>
              <a:rPr lang="en-US" dirty="0">
                <a:solidFill>
                  <a:schemeClr val="tx1"/>
                </a:solidFill>
              </a:rPr>
              <a:t>. Rather than learning everything by hard, try to understand the concepts learned in class. This will make it a lot easier!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Gleichschenkliges Dreieck 26">
            <a:extLst>
              <a:ext uri="{FF2B5EF4-FFF2-40B4-BE49-F238E27FC236}">
                <a16:creationId xmlns:a16="http://schemas.microsoft.com/office/drawing/2014/main" id="{888D1E7B-D8ED-C519-0198-694D11203B88}"/>
              </a:ext>
            </a:extLst>
          </p:cNvPr>
          <p:cNvSpPr/>
          <p:nvPr/>
        </p:nvSpPr>
        <p:spPr>
          <a:xfrm rot="5400000">
            <a:off x="243954" y="3181117"/>
            <a:ext cx="566587" cy="19518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47214887-BE3D-75EB-C7D8-A4932B5E37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55543" y="1356431"/>
            <a:ext cx="712251" cy="462255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B70602AF-B417-39AE-CA82-DCE3C976F2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3137" y="1343598"/>
            <a:ext cx="676571" cy="4547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1E341592-8908-D5B7-7808-ED6DBA596D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766" y="1362361"/>
            <a:ext cx="680184" cy="435937"/>
          </a:xfrm>
          <a:prstGeom prst="rect">
            <a:avLst/>
          </a:prstGeom>
        </p:spPr>
      </p:pic>
      <p:sp>
        <p:nvSpPr>
          <p:cNvPr id="47" name="Rechteck 46">
            <a:extLst>
              <a:ext uri="{FF2B5EF4-FFF2-40B4-BE49-F238E27FC236}">
                <a16:creationId xmlns:a16="http://schemas.microsoft.com/office/drawing/2014/main" id="{3453BBB7-B8D7-C89A-870E-B0AC15AD9DBA}"/>
              </a:ext>
            </a:extLst>
          </p:cNvPr>
          <p:cNvSpPr/>
          <p:nvPr/>
        </p:nvSpPr>
        <p:spPr>
          <a:xfrm>
            <a:off x="429656" y="3681166"/>
            <a:ext cx="8362655" cy="313829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24000">
              <a:spcBef>
                <a:spcPts val="2400"/>
              </a:spcBef>
            </a:pPr>
            <a:r>
              <a:rPr lang="en-US" dirty="0">
                <a:solidFill>
                  <a:schemeClr val="tx1"/>
                </a:solidFill>
              </a:rPr>
              <a:t>The </a:t>
            </a:r>
            <a:r>
              <a:rPr lang="en-US" b="1" dirty="0">
                <a:solidFill>
                  <a:schemeClr val="tx1"/>
                </a:solidFill>
              </a:rPr>
              <a:t>practice exam </a:t>
            </a:r>
            <a:r>
              <a:rPr lang="en-US" dirty="0">
                <a:solidFill>
                  <a:schemeClr val="tx1"/>
                </a:solidFill>
              </a:rPr>
              <a:t>serves as an indicator for the actual exam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8" name="Gleichschenkliges Dreieck 47">
            <a:extLst>
              <a:ext uri="{FF2B5EF4-FFF2-40B4-BE49-F238E27FC236}">
                <a16:creationId xmlns:a16="http://schemas.microsoft.com/office/drawing/2014/main" id="{8AACB4C8-D293-182D-B843-C9F8DD21DB9F}"/>
              </a:ext>
            </a:extLst>
          </p:cNvPr>
          <p:cNvSpPr/>
          <p:nvPr/>
        </p:nvSpPr>
        <p:spPr>
          <a:xfrm rot="5400000">
            <a:off x="377420" y="3740490"/>
            <a:ext cx="313828" cy="19518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F610EC8-889D-2605-D3F0-95953DB64AD6}"/>
              </a:ext>
            </a:extLst>
          </p:cNvPr>
          <p:cNvSpPr/>
          <p:nvPr/>
        </p:nvSpPr>
        <p:spPr>
          <a:xfrm>
            <a:off x="436742" y="4132817"/>
            <a:ext cx="8362655" cy="326606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24000">
              <a:spcBef>
                <a:spcPts val="2400"/>
              </a:spcBef>
            </a:pPr>
            <a:r>
              <a:rPr lang="en-US" dirty="0">
                <a:solidFill>
                  <a:schemeClr val="tx1"/>
                </a:solidFill>
              </a:rPr>
              <a:t>Make sure to install the </a:t>
            </a:r>
            <a:r>
              <a:rPr lang="en-US" b="1" dirty="0">
                <a:solidFill>
                  <a:schemeClr val="tx1"/>
                </a:solidFill>
              </a:rPr>
              <a:t>lockdown browser </a:t>
            </a:r>
            <a:r>
              <a:rPr lang="en-US" dirty="0">
                <a:solidFill>
                  <a:schemeClr val="tx1"/>
                </a:solidFill>
              </a:rPr>
              <a:t>before the exam (you will also need it for the practice exam)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115D697F-496A-CB9D-58B7-0CAD9A1A42F1}"/>
              </a:ext>
            </a:extLst>
          </p:cNvPr>
          <p:cNvSpPr/>
          <p:nvPr/>
        </p:nvSpPr>
        <p:spPr>
          <a:xfrm rot="5400000">
            <a:off x="369200" y="4189200"/>
            <a:ext cx="345264" cy="19518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4072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84" y="615461"/>
            <a:ext cx="7789431" cy="3660617"/>
          </a:xfrm>
        </p:spPr>
        <p:txBody>
          <a:bodyPr>
            <a:normAutofit fontScale="90000"/>
          </a:bodyPr>
          <a:lstStyle/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>
                <a:latin typeface="Gill Sans Nova Light"/>
              </a:rPr>
              <a:t>Good luck with the exam!</a:t>
            </a:r>
            <a:br>
              <a:rPr lang="en-GB" dirty="0"/>
            </a:br>
            <a:br>
              <a:rPr lang="en-GB" dirty="0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1630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r>
              <a:rPr lang="de-DE" dirty="0"/>
              <a:t>&lt;</a:t>
            </a:r>
            <a:r>
              <a:rPr lang="de-DE" dirty="0" err="1"/>
              <a:t>Your</a:t>
            </a:r>
            <a:r>
              <a:rPr lang="de-DE" dirty="0"/>
              <a:t> Name&gt;</a:t>
            </a:r>
          </a:p>
          <a:p>
            <a:pPr marL="0" lvl="1" indent="0" defTabSz="914400">
              <a:spcAft>
                <a:spcPts val="450"/>
              </a:spcAft>
              <a:buClr>
                <a:srgbClr val="00802F"/>
              </a:buClr>
              <a:buNone/>
            </a:pPr>
            <a:r>
              <a:rPr lang="de-DE" dirty="0">
                <a:cs typeface="Arial" pitchFamily="34" charset="0"/>
              </a:rPr>
              <a:t>&lt;</a:t>
            </a:r>
            <a:r>
              <a:rPr lang="de-DE" dirty="0" err="1">
                <a:cs typeface="Arial" pitchFamily="34" charset="0"/>
              </a:rPr>
              <a:t>Function</a:t>
            </a:r>
            <a:r>
              <a:rPr lang="de-DE" dirty="0">
                <a:cs typeface="Arial" pitchFamily="34" charset="0"/>
              </a:rPr>
              <a:t>&gt;</a:t>
            </a:r>
          </a:p>
          <a:p>
            <a:pPr marL="0" indent="0"/>
            <a:r>
              <a:rPr lang="de-DE" b="0" err="1">
                <a:hlinkClick r:id="rId3"/>
              </a:rPr>
              <a:t>lirst.last</a:t>
            </a:r>
            <a:r>
              <a:rPr lang="de-DE" b="0">
                <a:hlinkClick r:id="rId3"/>
              </a:rPr>
              <a:t>@&lt;student.&gt;unisg.ch</a:t>
            </a:r>
            <a:r>
              <a:rPr lang="de-DE" b="0"/>
              <a:t>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862619"/>
            <a:ext cx="5933919" cy="3860455"/>
          </a:xfrm>
        </p:spPr>
        <p:txBody>
          <a:bodyPr vert="horz" lIns="0" tIns="0" rIns="0" bIns="0" rtlCol="0" anchor="t">
            <a:normAutofit/>
          </a:bodyPr>
          <a:lstStyle/>
          <a:p>
            <a:pPr marL="395605" indent="-395605">
              <a:spcAft>
                <a:spcPts val="800"/>
              </a:spcAft>
            </a:pPr>
            <a:r>
              <a:rPr lang="en-US" dirty="0"/>
              <a:t>Discussion of Quiz 11 &amp; Assignment 11</a:t>
            </a:r>
          </a:p>
          <a:p>
            <a:pPr marL="395605" indent="-395605">
              <a:spcAft>
                <a:spcPts val="800"/>
              </a:spcAft>
            </a:pPr>
            <a:r>
              <a:rPr lang="en-US" dirty="0"/>
              <a:t>Summary of the previous week’s Lecture content</a:t>
            </a:r>
          </a:p>
          <a:p>
            <a:pPr marL="395605" indent="-395605">
              <a:spcAft>
                <a:spcPts val="800"/>
              </a:spcAft>
            </a:pPr>
            <a:r>
              <a:rPr lang="en-US" dirty="0">
                <a:ea typeface="+mn-lt"/>
                <a:cs typeface="+mn-lt"/>
              </a:rPr>
              <a:t>Clarification of open questions</a:t>
            </a:r>
            <a:endParaRPr lang="en-US" dirty="0"/>
          </a:p>
          <a:p>
            <a:pPr marL="0" indent="0">
              <a:spcAft>
                <a:spcPts val="800"/>
              </a:spcAft>
              <a:buNone/>
            </a:pPr>
            <a:endParaRPr lang="en-US" dirty="0"/>
          </a:p>
          <a:p>
            <a:pPr marL="0" indent="0">
              <a:buNone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946332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ill Sans Nova Light"/>
              </a:rPr>
              <a:t>1. Discussion of Quiz 11 &amp; Assignment 11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783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711226"/>
            <a:ext cx="8426450" cy="609662"/>
          </a:xfrm>
        </p:spPr>
        <p:txBody>
          <a:bodyPr/>
          <a:lstStyle/>
          <a:p>
            <a:r>
              <a:rPr lang="en-GB"/>
              <a:t>Full explanations on Google </a:t>
            </a:r>
            <a:r>
              <a:rPr lang="en-GB" err="1"/>
              <a:t>Colab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 dirty="0">
                <a:cs typeface="Arial"/>
              </a:rPr>
              <a:t>1. </a:t>
            </a:r>
            <a:r>
              <a:rPr lang="de-DE" dirty="0" err="1">
                <a:cs typeface="Arial"/>
              </a:rPr>
              <a:t>Discussion</a:t>
            </a:r>
            <a:r>
              <a:rPr lang="de-DE" dirty="0">
                <a:cs typeface="Arial"/>
              </a:rPr>
              <a:t> </a:t>
            </a:r>
            <a:r>
              <a:rPr lang="de-DE" dirty="0" err="1">
                <a:cs typeface="Arial"/>
              </a:rPr>
              <a:t>of</a:t>
            </a:r>
            <a:r>
              <a:rPr lang="de-DE" dirty="0">
                <a:cs typeface="Arial"/>
              </a:rPr>
              <a:t> Quiz 11</a:t>
            </a:r>
            <a:endParaRPr lang="en-GB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5EEC294-B771-D940-6194-AB1896DE8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734" y="1162365"/>
            <a:ext cx="7864503" cy="888858"/>
          </a:xfrm>
        </p:spPr>
        <p:txBody>
          <a:bodyPr vert="horz" lIns="0" tIns="0" rIns="0" bIns="0" rtlCol="0" anchor="t">
            <a:norm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ee the </a:t>
            </a:r>
            <a:r>
              <a:rPr lang="en-US" dirty="0">
                <a:hlinkClick r:id="rId2"/>
              </a:rPr>
              <a:t>linked Google </a:t>
            </a:r>
            <a:r>
              <a:rPr lang="en-US" dirty="0" err="1">
                <a:hlinkClick r:id="rId2"/>
              </a:rPr>
              <a:t>Colab</a:t>
            </a:r>
            <a:r>
              <a:rPr lang="en-US" dirty="0">
                <a:hlinkClick r:id="rId2"/>
              </a:rPr>
              <a:t> </a:t>
            </a:r>
            <a:r>
              <a:rPr lang="en-US" dirty="0"/>
              <a:t> for the full explanations for each question in Quiz 11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3184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84" y="615461"/>
            <a:ext cx="7789431" cy="3660617"/>
          </a:xfrm>
        </p:spPr>
        <p:txBody>
          <a:bodyPr>
            <a:normAutofit fontScale="90000"/>
          </a:bodyPr>
          <a:lstStyle/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2. </a:t>
            </a:r>
            <a:r>
              <a:rPr lang="en-GB" dirty="0">
                <a:latin typeface="Gill Sans Nova Light"/>
              </a:rPr>
              <a:t>Lecture Content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53581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71D05B9-29AE-0028-56DD-5C312C9825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18349"/>
            <a:ext cx="6589912" cy="3706825"/>
          </a:xfrm>
          <a:prstGeom prst="rect">
            <a:avLst/>
          </a:prstGeom>
          <a:noFill/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69" y="385762"/>
            <a:ext cx="8640366" cy="288970"/>
          </a:xfrm>
        </p:spPr>
        <p:txBody>
          <a:bodyPr anchor="t">
            <a:normAutofit/>
          </a:bodyPr>
          <a:lstStyle/>
          <a:p>
            <a:r>
              <a:rPr lang="de-CH" sz="2000"/>
              <a:t>Which </a:t>
            </a:r>
            <a:r>
              <a:rPr lang="de-CH" sz="2000" err="1"/>
              <a:t>Algorithm</a:t>
            </a:r>
            <a:r>
              <a:rPr lang="de-CH" sz="2000"/>
              <a:t> should I </a:t>
            </a:r>
            <a:r>
              <a:rPr lang="de-CH" sz="2000" err="1"/>
              <a:t>use</a:t>
            </a:r>
            <a:r>
              <a:rPr lang="de-CH" sz="2000"/>
              <a:t>?</a:t>
            </a:r>
            <a:endParaRPr lang="en-GB" sz="200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2. </a:t>
            </a:r>
            <a:r>
              <a:rPr lang="de-DE" err="1"/>
              <a:t>Lecture</a:t>
            </a:r>
            <a:r>
              <a:rPr lang="de-DE"/>
              <a:t> Content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6794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69" y="385762"/>
            <a:ext cx="8640366" cy="288970"/>
          </a:xfrm>
        </p:spPr>
        <p:txBody>
          <a:bodyPr anchor="t">
            <a:normAutofit/>
          </a:bodyPr>
          <a:lstStyle/>
          <a:p>
            <a:r>
              <a:rPr lang="de-CH" sz="2000" dirty="0" err="1"/>
              <a:t>Overfitting</a:t>
            </a:r>
            <a:r>
              <a:rPr lang="de-CH" sz="2000" dirty="0"/>
              <a:t> / </a:t>
            </a:r>
            <a:r>
              <a:rPr lang="de-CH" sz="2000" dirty="0" err="1"/>
              <a:t>Underfitting</a:t>
            </a:r>
            <a:endParaRPr lang="en-GB" sz="20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2. </a:t>
            </a:r>
            <a:r>
              <a:rPr lang="de-DE" err="1"/>
              <a:t>Lecture</a:t>
            </a:r>
            <a:r>
              <a:rPr lang="de-DE"/>
              <a:t> Content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7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19D8A7-B7EA-1462-392C-26995262A496}"/>
              </a:ext>
            </a:extLst>
          </p:cNvPr>
          <p:cNvSpPr txBox="1"/>
          <p:nvPr/>
        </p:nvSpPr>
        <p:spPr>
          <a:xfrm>
            <a:off x="290411" y="1045908"/>
            <a:ext cx="7028629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b="1" dirty="0"/>
              <a:t>Goal</a:t>
            </a:r>
            <a:r>
              <a:rPr lang="de-CH" dirty="0"/>
              <a:t>: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should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to </a:t>
            </a:r>
            <a:r>
              <a:rPr lang="de-CH" dirty="0" err="1"/>
              <a:t>generali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arned</a:t>
            </a:r>
            <a:r>
              <a:rPr lang="de-CH" dirty="0"/>
              <a:t> </a:t>
            </a:r>
            <a:r>
              <a:rPr lang="de-CH" dirty="0" err="1"/>
              <a:t>rules</a:t>
            </a:r>
            <a:r>
              <a:rPr lang="de-CH" dirty="0"/>
              <a:t> </a:t>
            </a:r>
            <a:r>
              <a:rPr lang="de-CH" dirty="0" err="1"/>
              <a:t>onto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, </a:t>
            </a:r>
            <a:r>
              <a:rPr lang="de-CH" dirty="0" err="1"/>
              <a:t>unseen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.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71249F-C94A-95CF-B0BA-702A1DB810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64" y="1718566"/>
            <a:ext cx="6077421" cy="27123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E480E52-ED2B-EA3E-3B6B-E7F8BABFF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1939" y="1812509"/>
            <a:ext cx="2521250" cy="2282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955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69" y="385762"/>
            <a:ext cx="8640366" cy="288970"/>
          </a:xfrm>
        </p:spPr>
        <p:txBody>
          <a:bodyPr anchor="t">
            <a:normAutofit/>
          </a:bodyPr>
          <a:lstStyle/>
          <a:p>
            <a:r>
              <a:rPr lang="de-CH" sz="2000" dirty="0" err="1"/>
              <a:t>Classify</a:t>
            </a:r>
            <a:r>
              <a:rPr lang="de-CH" sz="2000" dirty="0"/>
              <a:t> </a:t>
            </a:r>
            <a:r>
              <a:rPr lang="de-CH" sz="2000" dirty="0" err="1"/>
              <a:t>text</a:t>
            </a:r>
            <a:r>
              <a:rPr lang="de-CH" sz="2000" dirty="0"/>
              <a:t> (</a:t>
            </a:r>
            <a:r>
              <a:rPr lang="de-CH" sz="2000" dirty="0" err="1"/>
              <a:t>bag</a:t>
            </a:r>
            <a:r>
              <a:rPr lang="de-CH" sz="2000" dirty="0"/>
              <a:t> of </a:t>
            </a:r>
            <a:r>
              <a:rPr lang="de-CH" sz="2000" dirty="0" err="1"/>
              <a:t>words</a:t>
            </a:r>
            <a:r>
              <a:rPr lang="de-CH" sz="2000" dirty="0"/>
              <a:t>)</a:t>
            </a:r>
            <a:endParaRPr lang="en-GB" sz="20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2. </a:t>
            </a:r>
            <a:r>
              <a:rPr lang="de-DE" err="1"/>
              <a:t>Lecture</a:t>
            </a:r>
            <a:r>
              <a:rPr lang="de-DE"/>
              <a:t> Content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8</a:t>
            </a:fld>
            <a:endParaRPr lang="en-GB"/>
          </a:p>
        </p:txBody>
      </p:sp>
      <p:pic>
        <p:nvPicPr>
          <p:cNvPr id="2" name="Content Placeholder 3" descr="Diagram, text, letter&#10;&#10;Description automatically generated">
            <a:extLst>
              <a:ext uri="{FF2B5EF4-FFF2-40B4-BE49-F238E27FC236}">
                <a16:creationId xmlns:a16="http://schemas.microsoft.com/office/drawing/2014/main" id="{423DF81A-5EBE-0F27-2F90-33ECAF4CFE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69" y="972181"/>
            <a:ext cx="5676778" cy="326350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1034857-7B95-4EC5-1FA2-BC65E4B8900D}"/>
              </a:ext>
            </a:extLst>
          </p:cNvPr>
          <p:cNvSpPr txBox="1"/>
          <p:nvPr/>
        </p:nvSpPr>
        <p:spPr>
          <a:xfrm>
            <a:off x="6110143" y="0"/>
            <a:ext cx="3072401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 dirty="0">
                <a:hlinkClick r:id="rId3"/>
              </a:rPr>
              <a:t>https://dudeperf3ct.github.io/lstm/gru/nlp/2019/01/28/Force-of-LSTM-and-GRU/</a:t>
            </a:r>
            <a:endParaRPr lang="en-GB" sz="1013" dirty="0"/>
          </a:p>
          <a:p>
            <a:endParaRPr lang="en-GB" sz="1013" dirty="0"/>
          </a:p>
        </p:txBody>
      </p:sp>
    </p:spTree>
    <p:extLst>
      <p:ext uri="{BB962C8B-B14F-4D97-AF65-F5344CB8AC3E}">
        <p14:creationId xmlns:p14="http://schemas.microsoft.com/office/powerpoint/2010/main" val="33843946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69" y="385762"/>
            <a:ext cx="8640366" cy="288970"/>
          </a:xfrm>
        </p:spPr>
        <p:txBody>
          <a:bodyPr anchor="t">
            <a:normAutofit/>
          </a:bodyPr>
          <a:lstStyle/>
          <a:p>
            <a:r>
              <a:rPr lang="de-CH" sz="2000" dirty="0" err="1"/>
              <a:t>Classify</a:t>
            </a:r>
            <a:r>
              <a:rPr lang="de-CH" sz="2000" dirty="0"/>
              <a:t> </a:t>
            </a:r>
            <a:r>
              <a:rPr lang="de-CH" sz="2000" dirty="0" err="1"/>
              <a:t>text</a:t>
            </a:r>
            <a:r>
              <a:rPr lang="de-CH" sz="2000" dirty="0"/>
              <a:t> (</a:t>
            </a:r>
            <a:r>
              <a:rPr lang="de-CH" sz="2000" dirty="0" err="1"/>
              <a:t>tf.idf</a:t>
            </a:r>
            <a:r>
              <a:rPr lang="de-CH" sz="2000" dirty="0"/>
              <a:t>)</a:t>
            </a:r>
            <a:endParaRPr lang="en-GB" sz="20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2. </a:t>
            </a:r>
            <a:r>
              <a:rPr lang="de-DE" err="1"/>
              <a:t>Lecture</a:t>
            </a:r>
            <a:r>
              <a:rPr lang="de-DE"/>
              <a:t> Content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9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034857-7B95-4EC5-1FA2-BC65E4B8900D}"/>
              </a:ext>
            </a:extLst>
          </p:cNvPr>
          <p:cNvSpPr txBox="1"/>
          <p:nvPr/>
        </p:nvSpPr>
        <p:spPr>
          <a:xfrm>
            <a:off x="6110143" y="0"/>
            <a:ext cx="3072401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 dirty="0">
                <a:hlinkClick r:id="rId2"/>
              </a:rPr>
              <a:t>https://dudeperf3ct.github.io/lstm/gru/nlp/2019/01/28/Force-of-LSTM-and-GRU/</a:t>
            </a:r>
            <a:endParaRPr lang="en-GB" sz="1013" dirty="0"/>
          </a:p>
          <a:p>
            <a:endParaRPr lang="en-GB" sz="1013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193047-7657-33F2-79DE-B3ED46EA9DF0}"/>
              </a:ext>
            </a:extLst>
          </p:cNvPr>
          <p:cNvSpPr txBox="1">
            <a:spLocks/>
          </p:cNvSpPr>
          <p:nvPr/>
        </p:nvSpPr>
        <p:spPr>
          <a:xfrm>
            <a:off x="305921" y="815591"/>
            <a:ext cx="7886700" cy="3512317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erm Frequency (TF) — (No. of repeated words) / (No. of documents)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Inverse Document Frequency (IDF) — log[ (No. of documents) / (No. of documents containing word)]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/>
            <a:endParaRPr lang="en-GB" b="1" dirty="0"/>
          </a:p>
          <a:p>
            <a:pPr marL="0" indent="0"/>
            <a:r>
              <a:rPr lang="en-GB" b="1" dirty="0"/>
              <a:t>Calculate document vectors multiplying TF and IDF values. All of this can be achieved through TF-IDF vectorizer from sci-kit learn.</a:t>
            </a:r>
          </a:p>
          <a:p>
            <a:pPr marL="0" indent="0"/>
            <a:endParaRPr lang="en-GB" dirty="0"/>
          </a:p>
          <a:p>
            <a:pPr marL="0" indent="0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8602E5-E686-61B3-7EB7-8C2ABDCC1D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771" y="1131748"/>
            <a:ext cx="3927236" cy="819319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AA48095-8DBB-195F-BF7A-BB96077860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771" y="2430397"/>
            <a:ext cx="3129794" cy="762037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5C42B88-62CE-7FAC-70AF-8384714E7A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518" y="3839182"/>
            <a:ext cx="6318094" cy="81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473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3AC0B29D543742836C64EC22DE252D" ma:contentTypeVersion="9" ma:contentTypeDescription="Create a new document." ma:contentTypeScope="" ma:versionID="29a32b9e44bc128fc1762e147b48a5b7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0fda546a7528d3ae82d9c5739a2bc828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c96929-7643-4924-91c0-9b0ff054556d" xsi:nil="true"/>
    <lcf76f155ced4ddcb4097134ff3c332f xmlns="180db94c-82de-4c89-acb5-d41e1b03bacc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44214D7-55AE-4075-BE94-D2FEF16BC1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0db94c-82de-4c89-acb5-d41e1b03bacc"/>
    <ds:schemaRef ds:uri="5dc96929-7643-4924-91c0-9b0ff05455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006C3C9-FB59-4473-BC1F-8644C613D910}">
  <ds:schemaRefs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elements/1.1/"/>
    <ds:schemaRef ds:uri="http://www.w3.org/XML/1998/namespace"/>
    <ds:schemaRef ds:uri="http://schemas.microsoft.com/office/2006/metadata/properties"/>
    <ds:schemaRef ds:uri="5dc96929-7643-4924-91c0-9b0ff054556d"/>
    <ds:schemaRef ds:uri="http://purl.org/dc/dcmitype/"/>
    <ds:schemaRef ds:uri="http://schemas.microsoft.com/office/infopath/2007/PartnerControls"/>
    <ds:schemaRef ds:uri="180db94c-82de-4c89-acb5-d41e1b03bacc"/>
  </ds:schemaRefs>
</ds:datastoreItem>
</file>

<file path=customXml/itemProps3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409</Words>
  <Application>Microsoft Office PowerPoint</Application>
  <PresentationFormat>On-screen Show (16:9)</PresentationFormat>
  <Paragraphs>67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Calibri</vt:lpstr>
      <vt:lpstr>Calibri Light</vt:lpstr>
      <vt:lpstr>Gill Alt One MT Light</vt:lpstr>
      <vt:lpstr>Gill Sans Nova</vt:lpstr>
      <vt:lpstr>Gill Sans Nova Light</vt:lpstr>
      <vt:lpstr>Raleway</vt:lpstr>
      <vt:lpstr>Wingdings</vt:lpstr>
      <vt:lpstr>SCS_Theme</vt:lpstr>
      <vt:lpstr>think-cell Folie</vt:lpstr>
      <vt:lpstr>Grundlagen und Methoden  der Informatik</vt:lpstr>
      <vt:lpstr>Today’s Menu</vt:lpstr>
      <vt:lpstr>1. Discussion of Quiz 11 &amp; Assignment 11 </vt:lpstr>
      <vt:lpstr>Full explanations on Google Colab</vt:lpstr>
      <vt:lpstr>   2. Lecture Content  </vt:lpstr>
      <vt:lpstr>Which Algorithm should I use?</vt:lpstr>
      <vt:lpstr>Overfitting / Underfitting</vt:lpstr>
      <vt:lpstr>Classify text (bag of words)</vt:lpstr>
      <vt:lpstr>Classify text (tf.idf)</vt:lpstr>
      <vt:lpstr>K-Fold split</vt:lpstr>
      <vt:lpstr>   3. Questions?  </vt:lpstr>
      <vt:lpstr>How to prepare for the exam…</vt:lpstr>
      <vt:lpstr>   Good luck with the exam!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Dominik Buchegger</cp:lastModifiedBy>
  <cp:revision>33</cp:revision>
  <dcterms:created xsi:type="dcterms:W3CDTF">2022-09-12T10:36:05Z</dcterms:created>
  <dcterms:modified xsi:type="dcterms:W3CDTF">2023-05-26T10:0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3AC0B29D543742836C64EC22DE252D</vt:lpwstr>
  </property>
  <property fmtid="{D5CDD505-2E9C-101B-9397-08002B2CF9AE}" pid="3" name="MediaServiceImageTags">
    <vt:lpwstr/>
  </property>
</Properties>
</file>